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tags/tag9.xml" ContentType="application/vnd.openxmlformats-officedocument.presentationml.tags+xml"/>
  <Override PartName="/ppt/notesSlides/notesSlide12.xml" ContentType="application/vnd.openxmlformats-officedocument.presentationml.notesSlide+xml"/>
  <Override PartName="/ppt/tags/tag10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13.xml" ContentType="application/vnd.openxmlformats-officedocument.presentationml.tags+xml"/>
  <Override PartName="/ppt/notesSlides/notesSlide25.xml" ContentType="application/vnd.openxmlformats-officedocument.presentationml.notesSlide+xml"/>
  <Override PartName="/ppt/tags/tag14.xml" ContentType="application/vnd.openxmlformats-officedocument.presentationml.tags+xml"/>
  <Override PartName="/ppt/notesSlides/notesSlide26.xml" ContentType="application/vnd.openxmlformats-officedocument.presentationml.notesSlide+xml"/>
  <Override PartName="/ppt/tags/tag15.xml" ContentType="application/vnd.openxmlformats-officedocument.presentationml.tags+xml"/>
  <Override PartName="/ppt/notesSlides/notesSlide27.xml" ContentType="application/vnd.openxmlformats-officedocument.presentationml.notesSlide+xml"/>
  <Override PartName="/ppt/tags/tag16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20.xml" ContentType="application/vnd.openxmlformats-officedocument.presentationml.tags+xml"/>
  <Override PartName="/ppt/notesSlides/notesSlide3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7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77" r:id="rId2"/>
  </p:sldMasterIdLst>
  <p:notesMasterIdLst>
    <p:notesMasterId r:id="rId60"/>
  </p:notesMasterIdLst>
  <p:handoutMasterIdLst>
    <p:handoutMasterId r:id="rId61"/>
  </p:handoutMasterIdLst>
  <p:sldIdLst>
    <p:sldId id="409" r:id="rId3"/>
    <p:sldId id="461" r:id="rId4"/>
    <p:sldId id="460" r:id="rId5"/>
    <p:sldId id="451" r:id="rId6"/>
    <p:sldId id="401" r:id="rId7"/>
    <p:sldId id="453" r:id="rId8"/>
    <p:sldId id="456" r:id="rId9"/>
    <p:sldId id="457" r:id="rId10"/>
    <p:sldId id="459" r:id="rId11"/>
    <p:sldId id="296" r:id="rId12"/>
    <p:sldId id="298" r:id="rId13"/>
    <p:sldId id="299" r:id="rId14"/>
    <p:sldId id="303" r:id="rId15"/>
    <p:sldId id="305" r:id="rId16"/>
    <p:sldId id="343" r:id="rId17"/>
    <p:sldId id="306" r:id="rId18"/>
    <p:sldId id="310" r:id="rId19"/>
    <p:sldId id="344" r:id="rId20"/>
    <p:sldId id="304" r:id="rId21"/>
    <p:sldId id="335" r:id="rId22"/>
    <p:sldId id="308" r:id="rId23"/>
    <p:sldId id="319" r:id="rId24"/>
    <p:sldId id="309" r:id="rId25"/>
    <p:sldId id="311" r:id="rId26"/>
    <p:sldId id="346" r:id="rId27"/>
    <p:sldId id="320" r:id="rId28"/>
    <p:sldId id="312" r:id="rId29"/>
    <p:sldId id="321" r:id="rId30"/>
    <p:sldId id="410" r:id="rId31"/>
    <p:sldId id="411" r:id="rId32"/>
    <p:sldId id="336" r:id="rId33"/>
    <p:sldId id="313" r:id="rId34"/>
    <p:sldId id="322" r:id="rId35"/>
    <p:sldId id="412" r:id="rId36"/>
    <p:sldId id="323" r:id="rId37"/>
    <p:sldId id="413" r:id="rId38"/>
    <p:sldId id="314" r:id="rId39"/>
    <p:sldId id="316" r:id="rId40"/>
    <p:sldId id="345" r:id="rId41"/>
    <p:sldId id="317" r:id="rId42"/>
    <p:sldId id="318" r:id="rId43"/>
    <p:sldId id="414" r:id="rId44"/>
    <p:sldId id="415" r:id="rId45"/>
    <p:sldId id="416" r:id="rId46"/>
    <p:sldId id="337" r:id="rId47"/>
    <p:sldId id="326" r:id="rId48"/>
    <p:sldId id="417" r:id="rId49"/>
    <p:sldId id="418" r:id="rId50"/>
    <p:sldId id="327" r:id="rId51"/>
    <p:sldId id="328" r:id="rId52"/>
    <p:sldId id="339" r:id="rId53"/>
    <p:sldId id="307" r:id="rId54"/>
    <p:sldId id="340" r:id="rId55"/>
    <p:sldId id="329" r:id="rId56"/>
    <p:sldId id="341" r:id="rId57"/>
    <p:sldId id="352" r:id="rId58"/>
    <p:sldId id="301" r:id="rId59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440">
          <p15:clr>
            <a:srgbClr val="A4A3A4"/>
          </p15:clr>
        </p15:guide>
        <p15:guide id="2" orient="horz" pos="640">
          <p15:clr>
            <a:srgbClr val="A4A3A4"/>
          </p15:clr>
        </p15:guide>
        <p15:guide id="3" orient="horz" pos="712">
          <p15:clr>
            <a:srgbClr val="A4A3A4"/>
          </p15:clr>
        </p15:guide>
        <p15:guide id="4" orient="horz" pos="3928">
          <p15:clr>
            <a:srgbClr val="A4A3A4"/>
          </p15:clr>
        </p15:guide>
        <p15:guide id="5" orient="horz" pos="38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24E0C"/>
    <a:srgbClr val="17ABE3"/>
    <a:srgbClr val="A20000"/>
    <a:srgbClr val="A40000"/>
    <a:srgbClr val="9E0000"/>
    <a:srgbClr val="C7450B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62" autoAdjust="0"/>
    <p:restoredTop sz="94605" autoAdjust="0"/>
  </p:normalViewPr>
  <p:slideViewPr>
    <p:cSldViewPr snapToGrid="0">
      <p:cViewPr varScale="1">
        <p:scale>
          <a:sx n="159" d="100"/>
          <a:sy n="159" d="100"/>
        </p:scale>
        <p:origin x="4386" y="132"/>
      </p:cViewPr>
      <p:guideLst>
        <p:guide pos="5440"/>
        <p:guide orient="horz" pos="640"/>
        <p:guide orient="horz" pos="712"/>
        <p:guide orient="horz" pos="3928"/>
        <p:guide orient="horz" pos="38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5" Type="http://schemas.openxmlformats.org/officeDocument/2006/relationships/slide" Target="slides/slide3.xml"/><Relationship Id="rId61" Type="http://schemas.openxmlformats.org/officeDocument/2006/relationships/handoutMaster" Target="handoutMasters/handoutMaster1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theme" Target="theme/theme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notesMaster" Target="notesMasters/notesMaster1.xml"/><Relationship Id="rId65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2022/5/16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‹#›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86D8963-CFCD-4740-AF60-049850373CDF}" type="datetimeFigureOut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56236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如果模型是随机的，那么有几种可能的下一个状态和下一个奖励，每个都有一定的发生概率。 一些模型描述了所有可能性及其概率；这些我们称之为 </a:t>
            </a:r>
            <a:r>
              <a:rPr lang="zh-CN" altLang="en-US" sz="1200" b="0" i="1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分布模型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。 其他模型只产生一种可能性，根据概率进行采样；这些我们称之为 </a:t>
            </a:r>
            <a:r>
              <a:rPr lang="zh-CN" altLang="en-US" sz="1200" b="0" i="1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样本模型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。 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080138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很多种玩法，比如求总和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739408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主要被视为通过状态空间搜索最优策略或目标的最佳路径。动作导致从状态到状态的转换，并且价值函数在状态上计算。 </a:t>
            </a:r>
            <a:endParaRPr lang="en-US" altLang="zh-CN" sz="1200" b="0" i="0" kern="1200" dirty="0">
              <a:solidFill>
                <a:schemeClr val="tx1"/>
              </a:solidFill>
              <a:effectLst/>
              <a:latin typeface="阿里巴巴普惠体 R" panose="00020600040101010101" pitchFamily="18" charset="-12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规划是通过规划空间进行搜索。 操作将一个规划转换为另一个规划，并在规划空间中定义价值函数（如果有）。 </a:t>
            </a:r>
            <a:endParaRPr lang="en-US" altLang="zh-CN" sz="1200" b="0" i="0" kern="1200" dirty="0">
              <a:solidFill>
                <a:schemeClr val="tx1"/>
              </a:solidFill>
              <a:effectLst/>
              <a:latin typeface="阿里巴巴普惠体 R" panose="00020600040101010101" pitchFamily="18" charset="-122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artially ordered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 plan: represents all sequences of actions compatible with the partial ordering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刷牙洗脸吃饭为例子</a:t>
            </a:r>
            <a:endParaRPr lang="en-US" altLang="zh-CN" sz="1200" b="0" i="0" kern="1200" dirty="0">
              <a:solidFill>
                <a:schemeClr val="tx1"/>
              </a:solidFill>
              <a:effectLst/>
              <a:latin typeface="阿里巴巴普惠体 R" panose="00020600040101010101" pitchFamily="18" charset="-122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308870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403279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265084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换行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764905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relationship between experience, model, values, and policy</a:t>
            </a:r>
          </a:p>
          <a:p>
            <a:r>
              <a:rPr lang="zh-CN" altLang="en-US" dirty="0"/>
              <a:t>加图例</a:t>
            </a:r>
            <a:endParaRPr lang="en-US" altLang="zh-CN" dirty="0"/>
          </a:p>
          <a:p>
            <a:r>
              <a:rPr lang="en-US" altLang="zh-CN" dirty="0"/>
              <a:t>reference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806174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规划使用之前的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one step tabular q-learning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规划的时候只从经历过的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state-action pair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随机采样。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学习用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One step tabular q-learning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654843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在下图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Dyna-Q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伪代码中，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Model(s, a)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表示为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state-action pair (s, a)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预测的下一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stat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和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reward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。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Direct RL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，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model-learning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，和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lanning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分别对应于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(d), (e), (f)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。如果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(e)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和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(f)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省略了，剩余步骤就是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one-step tabular Q-learning.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4854156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b="0" i="0" kern="1200" dirty="0" err="1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nonplanning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 agent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在大约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25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个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episod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之后达到了最优（或  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-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最优）的表现，而  大约需要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5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个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episodes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，  只需要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3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个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episodes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。</a:t>
            </a:r>
            <a:endParaRPr lang="en-US" altLang="zh-CN" sz="1200" b="0" i="0" kern="1200" dirty="0">
              <a:solidFill>
                <a:schemeClr val="tx1"/>
              </a:solidFill>
              <a:effectLst/>
              <a:latin typeface="阿里巴巴普惠体 R" panose="00020600040101010101" pitchFamily="18" charset="-122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498189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0587483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在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Dyna-Q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中，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learning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和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lanning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起始是同样的算法，在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real experienc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上就是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learning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，在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simulated experienc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上就是 </a:t>
            </a:r>
            <a:r>
              <a:rPr lang="en-US" altLang="zh-CN" sz="1200" b="0" i="0" kern="1200" dirty="0" err="1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lanni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 ng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。由于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lanning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是逐渐进行的，没必要将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lanning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和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acting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混合，两个过程都可以尽快地执行下去。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agent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总是会立即对最新感知的信息作出反应，然后在后台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lanning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。在后台的过程就是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model-learning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。新的信息产生了，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model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被更新得更符合实际。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model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改变了，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lanning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过程则会逐渐计算一个不同的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behav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方式（译者注：其实就是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olicy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）来与新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model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匹配。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160828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在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Dyna-Q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中，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learning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和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lanning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起始是同样的算法，在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real experienc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上就是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learning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，在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simulated experienc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上就是 </a:t>
            </a:r>
            <a:r>
              <a:rPr lang="en-US" altLang="zh-CN" sz="1200" b="0" i="0" kern="1200" dirty="0" err="1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lanni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 ng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。由于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lanning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是逐渐进行的，没必要将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lanning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和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acting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混合，两个过程都可以尽快地执行下去。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agent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总是会立即对最新感知的信息作出反应，然后在后台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lanning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。在后台的过程就是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model-learning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。新的信息产生了，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model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被更新得更符合实际。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model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改变了，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lanning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过程则会逐渐计算一个不同的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behav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方式（译者注：其实就是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olicy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）来与新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model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匹配。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3330240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。我们希望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agent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多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explor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来发现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environment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的改变，但是也希望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erformanc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不要有明显下滑。在早前的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exploration/exploitation conflict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中，可能没有一种方法能够完美切实地解决问题，但是简单的启发式算法（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heuristics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）经常很有用。</a:t>
            </a:r>
            <a:endParaRPr lang="en-US" altLang="zh-CN" sz="1200" b="0" i="0" kern="1200" dirty="0">
              <a:solidFill>
                <a:schemeClr val="tx1"/>
              </a:solidFill>
              <a:effectLst/>
              <a:latin typeface="阿里巴巴普惠体 R" panose="00020600040101010101" pitchFamily="18" charset="-122"/>
              <a:ea typeface="+mn-ea"/>
              <a:cs typeface="+mn-cs"/>
            </a:endParaRPr>
          </a:p>
          <a:p>
            <a:endParaRPr lang="en-US" altLang="zh-CN" sz="1200" b="0" i="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this kind of computational curiosity is well worth the extra exploration</a:t>
            </a:r>
            <a:r>
              <a:rPr lang="en-US" altLang="zh-CN" dirty="0"/>
              <a:t> 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6212088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b="1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lanning and Learning with Tabular Methods 159</a:t>
            </a:r>
            <a:br>
              <a:rPr lang="en-US" altLang="zh-CN" sz="1200" b="1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1 Models and Planning . . . . . . . . . . . . . . . . . . . . . . . . . . . . . . 159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2 Dyna: Integrated Planning, Acting, and Learning . . . . . . . . . . . . . . 161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3 When the Model Is Wrong . . . . . . . . . . . . . . . . . . . . . . . . . . . 166</a:t>
            </a:r>
          </a:p>
          <a:p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4 Prioritized Sweeping . . . . . . . . . . . . . . . . . . . . . . . . . . . . . . 168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5 Expected vs. Sample Updates . . . . . . . . . . . . . . . . . . . . . . . . . 172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6 Trajectory Sampling . . . . . . . . . . . . . . . . . . . . . . . . . . . . . . 174</a:t>
            </a:r>
          </a:p>
          <a:p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7 Real-time Dynamic Programming . . . . . . . . . . . . . . . . . . . . . . . 177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8 Planning at Decision Time . . . . . . . . . . . . . . . . . . . . . . . . . . . 180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9 Heuristic Search . . . . . . . . . . . . . . . . . . . . . . . . . . . . . . . . 181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10 Rollout Algorithms . . . . . . . . . . . . . . . . . . . . . . . . . . . . . . . 183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11 Monte Carlo Tree Search . . . . . . . . . . . . . . . . . . . . . . . . . . . . 185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3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4867574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考虑第一个迷宫任务中（图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4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）第二个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episod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发生的事。在第二个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episod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开始时，只有直接到达目标的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state-action pair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有正的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value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，其他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airs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仍都是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0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。</a:t>
            </a:r>
            <a:endParaRPr lang="en-US" altLang="zh-CN" sz="1200" b="0" i="0" kern="1200" dirty="0">
              <a:solidFill>
                <a:schemeClr val="tx1"/>
              </a:solidFill>
              <a:effectLst/>
              <a:latin typeface="阿里巴巴普惠体 R" panose="00020600040101010101" pitchFamily="18" charset="-122"/>
              <a:ea typeface="+mn-ea"/>
              <a:cs typeface="+mn-cs"/>
            </a:endParaRPr>
          </a:p>
          <a:p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一般地，我们想要不仅从目标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stat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往回看，还要从任何估值发生变化的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stat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都能回溯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3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7239612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这是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rioritized sweeping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背后的思想。这个思想需要维护一个由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state-action pair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组成的队列，这些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state-action pairs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的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valu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估计值如果进行更新，将会有一定改变。队列顺序按照改变的大小排序。如果队列顶端的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air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被更新了，对于其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redecessor stat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的影响也会被计算。如果这个影响高于一个阈值，则这个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air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将会以新的优先权重插入到这个队列中（如果队列之前也有这个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air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，则只有有着更高权重的留在队列中）。改变的影响在这种方式下有效反向传播直到停止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3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8235041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这是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rioritized sweeping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背后的思想。这个思想需要维护一个由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state-action pair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组成的队列，这些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state-action pairs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的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valu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估计值如果进行更新，将会有一定改变。队列顺序按照改变的大小排序。如果队列顶端的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air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被更新了，对于其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redecessor stat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的影响也会被计算。如果这个影响高于一个阈值，则这个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air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将会以新的优先权重插入到这个队列中（如果队列之前也有这个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air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，则只有有着更高权重的留在队列中）。改变的影响在这种方式下有效反向传播直到停止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3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1028887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这其中任意一种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one-step updates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都可以应用到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lanning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方法中。先前讨论的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Dyna-Q agents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用的是  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sample updates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，但是其实也可以用  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expected updates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或者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expected  updates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和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sample  updates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。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Dyna-AC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系统用带有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learning policy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结构的  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sample updates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。对于随机问题，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rioritized sweeping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总是用其中一种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expected updates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3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510115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真实的问题中，后续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stat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的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valu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会是它们本身更新后的估计值。通过使估计更准确，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sample updates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还有一个好处就是通过后续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stat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回溯的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value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可以更准确。这些结果都表明在有着大的随机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branching factor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和太多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states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情况下，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sample updates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要比 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expected updates 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更好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3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580146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4500888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Comment</a:t>
            </a:r>
            <a:r>
              <a:rPr lang="zh-CN" altLang="en-US"/>
              <a:t>：加个例子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4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1892549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4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b="1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lanning and Learning with Tabular Methods 159</a:t>
            </a:r>
            <a:br>
              <a:rPr lang="en-US" altLang="zh-CN" sz="1200" b="1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1 Models and Planning . . . . . . . . . . . . . . . . . . . . . . . . . . . . . . 159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2 Dyna: Integrated Planning, Acting, and Learning . . . . . . . . . . . . . . 161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3 When the Model Is Wrong . . . . . . . . . . . . . . . . . . . . . . . . . . . 166</a:t>
            </a:r>
          </a:p>
          <a:p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4 Prioritized Sweeping . . . . . . . . . . . . . . . . . . . . . . . . . . . . . . 168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5 Expected vs. Sample Updates . . . . . . . . . . . . . . . . . . . . . . . . . 172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6 Trajectory Sampling . . . . . . . . . . . . . . . . . . . . . . . . . . . . . . 174</a:t>
            </a:r>
          </a:p>
          <a:p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7 Real-time Dynamic Programming . . . . . . . . . . . . . . . . . . . . . . . 177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8 Planning at Decision Time . . . . . . . . . . . . . . . . . . . . . . . . . . . 180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9 Heuristic Search . . . . . . . . . . . . . . . . . . . . . . . . . . . . . . . . 181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10 Rollout Algorithms . . . . . . . . . . . . . . . . . . . . . . . . . . . . . . . 183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11 Monte Carlo Tree Search . . . . . . . . . . . . . . . . . . . . . . . . . . . . 185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4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4867574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4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6969252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5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957424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5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571829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5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2380850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Comment</a:t>
            </a:r>
            <a:r>
              <a:rPr lang="zh-CN" altLang="en-US"/>
              <a:t>：加一张比赛图片</a:t>
            </a:r>
            <a:endParaRPr 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5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1886252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制作感谢页（伯禹</a:t>
            </a:r>
            <a:r>
              <a:rPr kumimoji="1" lang="en-US" altLang="zh-CN" dirty="0"/>
              <a:t>logo+</a:t>
            </a:r>
            <a:r>
              <a:rPr kumimoji="1" lang="zh-CN" altLang="en-US" dirty="0"/>
              <a:t>打造</a:t>
            </a:r>
            <a:r>
              <a:rPr kumimoji="1" lang="en-US" altLang="zh-CN" dirty="0"/>
              <a:t>AI</a:t>
            </a:r>
            <a:r>
              <a:rPr kumimoji="1" lang="zh-CN" altLang="en-US" dirty="0"/>
              <a:t>领域的黄埔军校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5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77823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883983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354097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314805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751792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b="1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Planning and Learning with Tabular Methods 159</a:t>
            </a:r>
            <a:br>
              <a:rPr lang="en-US" altLang="zh-CN" sz="1200" b="1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1 Models and Planning . . . . . . . . . . . . . . . . . . . . . . . . . . . . . . 159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2 Dyna: Integrated Planning, Acting, and Learning . . . . . . . . . . . . . . 161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3 When the Model Is Wrong . . . . . . . . . . . . . . . . . . . . . . . . . . . 166</a:t>
            </a:r>
          </a:p>
          <a:p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4 Prioritized Sweeping . . . . . . . . . . . . . . . . . . . . . . . . . . . . . . 168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5 Expected vs. Sample Updates . . . . . . . . . . . . . . . . . . . . . . . . . 172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6 Trajectory Sampling . . . . . . . . . . . . . . . . . . . . . . . . . . . . . . 174</a:t>
            </a:r>
          </a:p>
          <a:p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7 Real-time Dynamic Programming . . . . . . . . . . . . . . . . . . . . . . . 177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8 Planning at Decision Time . . . . . . . . . . . . . . . . . . . . . . . . . . . 180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9 Heuristic Search . . . . . . . . . . . . . . . . . . . . . . . . . . . . . . . . 181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10 Rollout Algorithms . . . . . . . . . . . . . . . . . . . . . . . . . . . . . . . 183</a:t>
            </a:r>
            <a:b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</a:b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阿里巴巴普惠体 R" panose="00020600040101010101" pitchFamily="18" charset="-122"/>
                <a:ea typeface="+mn-ea"/>
                <a:cs typeface="+mn-cs"/>
              </a:rPr>
              <a:t>8.11 Monte Carlo Tree Search . . . . . . . . . . . . . . . . . . . . . . . . . . . . 185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486757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2/5/16</a:t>
            </a:fld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06D5035-281B-48A3-AAEF-370C250ED6CB}"/>
              </a:ext>
            </a:extLst>
          </p:cNvPr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E26BE868-DEDB-446D-8061-DA06019DF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  <p:extLst>
      <p:ext uri="{BB962C8B-B14F-4D97-AF65-F5344CB8AC3E}">
        <p14:creationId xmlns:p14="http://schemas.microsoft.com/office/powerpoint/2010/main" val="1027757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E10A5ED6-BA28-4AB3-9FFA-AD4263DD4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CB87EDC-97F7-4F50-A29C-7C7880825747}"/>
              </a:ext>
            </a:extLst>
          </p:cNvPr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31230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/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/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/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/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2/5/16</a:t>
            </a:fld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 userDrawn="1"/>
        </p:nvSpPr>
        <p:spPr>
          <a:xfrm>
            <a:off x="2983768" y="2782669"/>
            <a:ext cx="33394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00B0F0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THANK YOU</a:t>
            </a:r>
            <a:endParaRPr lang="zh-CN" altLang="en-US" sz="3600" b="1" dirty="0">
              <a:solidFill>
                <a:srgbClr val="00B0F0"/>
              </a:solidFill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186431" y="896645"/>
            <a:ext cx="8708994" cy="355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BCA9E9A2-5D3E-4A6D-98CA-FAD6AF8F5F4B}"/>
              </a:ext>
            </a:extLst>
          </p:cNvPr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29204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D0851EE6-6491-074F-9A62-4AE5D275B554}"/>
              </a:ext>
            </a:extLst>
          </p:cNvPr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F8FCD97E-1210-8E49-A3E6-087A08B4628B}"/>
              </a:ext>
            </a:extLst>
          </p:cNvPr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1EBC602-977D-2E4D-936A-A720A33E5F5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6F59A00-FC52-814E-A4FA-34A355682DE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1F8E2B3-1AF5-E344-9FEB-7D9BBB6B1F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14E4CE0-1183-7E42-9C8E-632D338645F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9537913-5FDE-4740-ACDA-21BC9AFC23D4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2D1555A-987F-1743-9074-0F1426D22CFF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40BCFD9-ACBE-844E-8E38-48C32DA5031A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DE7C2FB-9784-AB48-823F-3E3087D8251E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17A7512E-A300-6949-8394-88CC02088232}"/>
              </a:ext>
            </a:extLst>
          </p:cNvPr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9635D535-85FB-5F46-8B39-8C156F6830C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96278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83BB3B47-2B46-D249-B092-A9CCE28AAB2F}"/>
              </a:ext>
            </a:extLst>
          </p:cNvPr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CF3102EB-F9B9-1143-9E23-3112F527DD90}"/>
              </a:ext>
            </a:extLst>
          </p:cNvPr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4D84D06-D058-6E4F-822A-0988906D4DD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61A469E-ED3F-5643-941D-D33FA4BF16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023EE441-02DB-0A49-B917-B01072C76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4029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pPr/>
              <a:t>2022/5/16</a:t>
            </a:fld>
            <a:endParaRPr lang="zh-CN" altLang="en-US" dirty="0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4970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2" r:id="rId4"/>
    <p:sldLayoutId id="2147483683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pos="5440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12" Type="http://schemas.openxmlformats.org/officeDocument/2006/relationships/image" Target="../media/image3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37.png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7.xml"/><Relationship Id="rId6" Type="http://schemas.openxmlformats.org/officeDocument/2006/relationships/image" Target="../media/image7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.xml"/><Relationship Id="rId11" Type="http://schemas.openxmlformats.org/officeDocument/2006/relationships/image" Target="../media/image80.png"/><Relationship Id="rId5" Type="http://schemas.openxmlformats.org/officeDocument/2006/relationships/image" Target="../media/image38.png"/><Relationship Id="rId10" Type="http://schemas.openxmlformats.org/officeDocument/2006/relationships/image" Target="../media/image62.png"/><Relationship Id="rId4" Type="http://schemas.openxmlformats.org/officeDocument/2006/relationships/image" Target="../media/image35.png"/><Relationship Id="rId9" Type="http://schemas.openxmlformats.org/officeDocument/2006/relationships/image" Target="../media/image5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4" Type="http://schemas.openxmlformats.org/officeDocument/2006/relationships/hyperlink" Target="https://www.cs.uni.edu/~wallingf/teaching/161/sessions/session24.pdf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0.png"/><Relationship Id="rId5" Type="http://schemas.openxmlformats.org/officeDocument/2006/relationships/image" Target="../media/image11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5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80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notesSlide" Target="../notesSlides/notesSlide25.xml"/><Relationship Id="rId7" Type="http://schemas.openxmlformats.org/officeDocument/2006/relationships/image" Target="NUL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3.xml"/><Relationship Id="rId4" Type="http://schemas.openxmlformats.org/officeDocument/2006/relationships/image" Target="../media/image4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4.xml"/><Relationship Id="rId6" Type="http://schemas.openxmlformats.org/officeDocument/2006/relationships/image" Target="../media/image17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5.xml"/><Relationship Id="rId6" Type="http://schemas.openxmlformats.org/officeDocument/2006/relationships/image" Target="../media/image20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1.png"/><Relationship Id="rId3" Type="http://schemas.openxmlformats.org/officeDocument/2006/relationships/notesSlide" Target="../notesSlides/notesSlide28.xml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6.xml"/><Relationship Id="rId6" Type="http://schemas.openxmlformats.org/officeDocument/2006/relationships/image" Target="NULL"/><Relationship Id="rId9" Type="http://schemas.openxmlformats.org/officeDocument/2006/relationships/image" Target="../media/image230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0.png"/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50.png"/><Relationship Id="rId9" Type="http://schemas.openxmlformats.org/officeDocument/2006/relationships/image" Target="../media/image270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5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7.xml"/><Relationship Id="rId4" Type="http://schemas.openxmlformats.org/officeDocument/2006/relationships/image" Target="../media/image52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1.xml"/><Relationship Id="rId4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hyperlink" Target="https://towardsdatascience.com/solving-racetrack-in-reinforcement-learning-using-monte-carlo-control-bdee2aa4f04e" TargetMode="External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7.png"/><Relationship Id="rId4" Type="http://schemas.openxmlformats.org/officeDocument/2006/relationships/image" Target="../media/image55.gif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9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1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0.xml"/><Relationship Id="rId6" Type="http://schemas.openxmlformats.org/officeDocument/2006/relationships/image" Target="NULL"/></Relationships>
</file>

<file path=ppt/slides/_rels/slide53.xml.rels><?xml version="1.0" encoding="UTF-8" standalone="yes"?>
<Relationships xmlns="http://schemas.openxmlformats.org/package/2006/relationships"><Relationship Id="rId7" Type="http://schemas.openxmlformats.org/officeDocument/2006/relationships/image" Target="NUL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1.xml"/><Relationship Id="rId6" Type="http://schemas.openxmlformats.org/officeDocument/2006/relationships/image" Target="NULL"/><Relationship Id="rId5" Type="http://schemas.openxmlformats.org/officeDocument/2006/relationships/image" Target="NUL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2.xml"/><Relationship Id="rId6" Type="http://schemas.openxmlformats.org/officeDocument/2006/relationships/image" Target="../media/image59.png"/><Relationship Id="rId5" Type="http://schemas.openxmlformats.org/officeDocument/2006/relationships/image" Target="../media/image350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notesSlide" Target="../notesSlides/notesSlide37.xml"/><Relationship Id="rId7" Type="http://schemas.openxmlformats.org/officeDocument/2006/relationships/image" Target="NUL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3.xml"/><Relationship Id="rId6" Type="http://schemas.openxmlformats.org/officeDocument/2006/relationships/image" Target="NUL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8.xml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2.png"/><Relationship Id="rId5" Type="http://schemas.openxmlformats.org/officeDocument/2006/relationships/image" Target="../media/image18.png"/><Relationship Id="rId4" Type="http://schemas.openxmlformats.org/officeDocument/2006/relationships/image" Target="../media/image21.png"/><Relationship Id="rId9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0.png"/><Relationship Id="rId11" Type="http://schemas.openxmlformats.org/officeDocument/2006/relationships/image" Target="../media/image34.png"/><Relationship Id="rId5" Type="http://schemas.openxmlformats.org/officeDocument/2006/relationships/image" Target="../media/image29.png"/><Relationship Id="rId10" Type="http://schemas.openxmlformats.org/officeDocument/2006/relationships/image" Target="../media/image26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317728" y="4053047"/>
            <a:ext cx="62095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规划与学习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3115"/>
            <a:ext cx="5885155" cy="3683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2A218AF-4E0B-46A9-B4FA-11ABC544612C}"/>
              </a:ext>
            </a:extLst>
          </p:cNvPr>
          <p:cNvSpPr txBox="1"/>
          <p:nvPr/>
        </p:nvSpPr>
        <p:spPr>
          <a:xfrm>
            <a:off x="2317728" y="730136"/>
            <a:ext cx="58873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强化学习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2022</a:t>
            </a:r>
          </a:p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第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5</a:t>
            </a:r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节</a:t>
            </a:r>
            <a:endParaRPr lang="zh-CN" altLang="en-US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61290B1-B0B9-4B1B-9B40-8F86C1E93176}"/>
              </a:ext>
            </a:extLst>
          </p:cNvPr>
          <p:cNvSpPr txBox="1"/>
          <p:nvPr/>
        </p:nvSpPr>
        <p:spPr>
          <a:xfrm>
            <a:off x="2324816" y="1785532"/>
            <a:ext cx="549214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涉及知识点：</a:t>
            </a:r>
            <a:endParaRPr lang="en-US" altLang="zh-CN" sz="3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规划与学习之入门算法和介绍、规划与学习之采样方法、规划与学习之决策时规划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08745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82094" y="3697515"/>
            <a:ext cx="686894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规划与学习</a:t>
            </a:r>
            <a:r>
              <a:rPr lang="en-US" altLang="zh-CN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: </a:t>
            </a:r>
          </a:p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入门介绍和算法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BED3DF7-FB71-425D-AFE0-12D254584D68}"/>
              </a:ext>
            </a:extLst>
          </p:cNvPr>
          <p:cNvSpPr txBox="1"/>
          <p:nvPr/>
        </p:nvSpPr>
        <p:spPr>
          <a:xfrm>
            <a:off x="2317728" y="5020954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讲师：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8DDDDADD-2158-4B7D-8816-1E34219E6B77}"/>
                  </a:ext>
                </a:extLst>
              </p:cNvPr>
              <p:cNvSpPr txBox="1"/>
              <p:nvPr/>
            </p:nvSpPr>
            <p:spPr>
              <a:xfrm>
                <a:off x="1897039" y="2027273"/>
                <a:ext cx="5547815" cy="95410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r>
                      <a:rPr lang="zh-CN" altLang="en-US" sz="28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价值</m:t>
                    </m:r>
                  </m:oMath>
                </a14:m>
                <a:r>
                  <a:rPr lang="zh-CN" altLang="en-US" sz="2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评估指导策略提升</a:t>
                </a:r>
                <a:endParaRPr lang="en-US" altLang="zh-CN" sz="2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algn="ctr"/>
                <a:r>
                  <a:rPr lang="zh-CN" altLang="en-US" sz="2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那么如何更加精准地估计价值呢？</a:t>
                </a:r>
                <a:endParaRPr lang="en-US" altLang="zh-CN" sz="2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8DDDDADD-2158-4B7D-8816-1E34219E6B7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97039" y="2027273"/>
                <a:ext cx="5547815" cy="954107"/>
              </a:xfrm>
              <a:prstGeom prst="rect">
                <a:avLst/>
              </a:prstGeom>
              <a:blipFill>
                <a:blip r:embed="rId11"/>
                <a:stretch>
                  <a:fillRect l="-879" t="-6410" r="-2527" b="-179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图片 8">
            <a:extLst>
              <a:ext uri="{FF2B5EF4-FFF2-40B4-BE49-F238E27FC236}">
                <a16:creationId xmlns:a16="http://schemas.microsoft.com/office/drawing/2014/main" id="{D9EE572C-15F6-41E1-89CB-41CC487A8611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b="48323"/>
          <a:stretch/>
        </p:blipFill>
        <p:spPr>
          <a:xfrm>
            <a:off x="3522400" y="452611"/>
            <a:ext cx="1983279" cy="1414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678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4480C692-B31A-0344-BFAA-BF8D473C02A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 dirty="0"/>
          </a:p>
        </p:txBody>
      </p:sp>
      <p:sp>
        <p:nvSpPr>
          <p:cNvPr id="11" name="文本占位符 1">
            <a:extLst>
              <a:ext uri="{FF2B5EF4-FFF2-40B4-BE49-F238E27FC236}">
                <a16:creationId xmlns:a16="http://schemas.microsoft.com/office/drawing/2014/main" id="{3296A87F-F951-AE48-9C79-1BD310D192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99300" y="2036916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zh-CN" altLang="en-US" dirty="0"/>
              <a:t>模型是什么</a:t>
            </a:r>
          </a:p>
        </p:txBody>
      </p:sp>
      <p:sp>
        <p:nvSpPr>
          <p:cNvPr id="12" name="文本占位符 2">
            <a:extLst>
              <a:ext uri="{FF2B5EF4-FFF2-40B4-BE49-F238E27FC236}">
                <a16:creationId xmlns:a16="http://schemas.microsoft.com/office/drawing/2014/main" id="{5724F0BF-53A1-8C4C-AD42-0E17F053D77A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428196" y="2002626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  <p:sp>
        <p:nvSpPr>
          <p:cNvPr id="13" name="文本占位符 3">
            <a:extLst>
              <a:ext uri="{FF2B5EF4-FFF2-40B4-BE49-F238E27FC236}">
                <a16:creationId xmlns:a16="http://schemas.microsoft.com/office/drawing/2014/main" id="{6CFF8168-52EA-4041-999C-A03781529AD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199300" y="2815617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zh-CN" altLang="en-US" dirty="0"/>
              <a:t>规划是什么</a:t>
            </a:r>
          </a:p>
        </p:txBody>
      </p:sp>
      <p:sp>
        <p:nvSpPr>
          <p:cNvPr id="14" name="文本占位符 4">
            <a:extLst>
              <a:ext uri="{FF2B5EF4-FFF2-40B4-BE49-F238E27FC236}">
                <a16:creationId xmlns:a16="http://schemas.microsoft.com/office/drawing/2014/main" id="{3A06AF6E-4CC5-1448-8068-D29DC14654C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428196" y="2781327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  <p:sp>
        <p:nvSpPr>
          <p:cNvPr id="15" name="文本占位符 5">
            <a:extLst>
              <a:ext uri="{FF2B5EF4-FFF2-40B4-BE49-F238E27FC236}">
                <a16:creationId xmlns:a16="http://schemas.microsoft.com/office/drawing/2014/main" id="{4CCFA1BF-34CB-604A-B62B-AB839F515540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199300" y="3594318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zh-CN" altLang="en-US" dirty="0"/>
              <a:t>规划和学习</a:t>
            </a:r>
          </a:p>
        </p:txBody>
      </p:sp>
      <p:sp>
        <p:nvSpPr>
          <p:cNvPr id="16" name="文本占位符 6">
            <a:extLst>
              <a:ext uri="{FF2B5EF4-FFF2-40B4-BE49-F238E27FC236}">
                <a16:creationId xmlns:a16="http://schemas.microsoft.com/office/drawing/2014/main" id="{B5892E99-D5CB-BA43-A1FD-4A7C92535127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428196" y="3560028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3</a:t>
            </a:r>
            <a:endParaRPr kumimoji="1" lang="zh-CN" altLang="en-US" dirty="0"/>
          </a:p>
        </p:txBody>
      </p:sp>
      <p:sp>
        <p:nvSpPr>
          <p:cNvPr id="17" name="文本占位符 7">
            <a:extLst>
              <a:ext uri="{FF2B5EF4-FFF2-40B4-BE49-F238E27FC236}">
                <a16:creationId xmlns:a16="http://schemas.microsoft.com/office/drawing/2014/main" id="{35E19413-6B7B-784E-A6B8-01A75A5FD1C1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5199300" y="4373019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en-US" altLang="zh-CN"/>
              <a:t>Dyna </a:t>
            </a:r>
            <a:r>
              <a:rPr kumimoji="1" lang="zh-CN" altLang="en-US"/>
              <a:t>算法</a:t>
            </a:r>
            <a:endParaRPr kumimoji="1" lang="zh-CN" altLang="en-US" dirty="0"/>
          </a:p>
        </p:txBody>
      </p:sp>
      <p:sp>
        <p:nvSpPr>
          <p:cNvPr id="18" name="文本占位符 8">
            <a:extLst>
              <a:ext uri="{FF2B5EF4-FFF2-40B4-BE49-F238E27FC236}">
                <a16:creationId xmlns:a16="http://schemas.microsoft.com/office/drawing/2014/main" id="{A17EEDD9-C74B-6949-B908-973B6F607D6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4428196" y="4338729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4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5135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kumimoji="1" lang="zh-CN" altLang="en-US" dirty="0"/>
              <a:t>模型是什么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58650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-49236"/>
            <a:ext cx="8137922" cy="1028699"/>
          </a:xfrm>
        </p:spPr>
        <p:txBody>
          <a:bodyPr/>
          <a:lstStyle/>
          <a:p>
            <a:r>
              <a:rPr lang="zh-CN" altLang="en-US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模型 </a:t>
            </a:r>
            <a:r>
              <a:rPr lang="en-US" altLang="zh-CN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(</a:t>
            </a:r>
            <a:r>
              <a:rPr lang="en-US" altLang="zh-CN" dirty="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Model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)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335516"/>
                <a:ext cx="8641558" cy="1864095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给定一个状态和动作，模型能够预测下一个状态和奖励的分布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: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即</a:t>
                </a:r>
                <a14:m>
                  <m:oMath xmlns:m="http://schemas.openxmlformats.org/officeDocument/2006/math">
                    <m:r>
                      <a:rPr lang="en-US" altLang="zh-CN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𝑝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</m:sup>
                    </m:sSup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𝑟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| 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 </m:t>
                    </m:r>
                    <m:r>
                      <a:rPr lang="en-US" altLang="zh-CN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:</m:t>
                    </m:r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给定的状态和动作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𝑟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:</m:t>
                    </m:r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下一个状态和奖励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335516"/>
                <a:ext cx="8641558" cy="1864095"/>
              </a:xfrm>
              <a:prstGeom prst="rect">
                <a:avLst/>
              </a:prstGeom>
              <a:blipFill>
                <a:blip r:embed="rId6"/>
                <a:stretch>
                  <a:fillRect l="-423" t="-163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文本占位符 3">
            <a:extLst>
              <a:ext uri="{FF2B5EF4-FFF2-40B4-BE49-F238E27FC236}">
                <a16:creationId xmlns:a16="http://schemas.microsoft.com/office/drawing/2014/main" id="{F5D4889F-213F-4D53-857C-4BA4920ACF6D}"/>
              </a:ext>
            </a:extLst>
          </p:cNvPr>
          <p:cNvSpPr txBox="1">
            <a:spLocks/>
          </p:cNvSpPr>
          <p:nvPr/>
        </p:nvSpPr>
        <p:spPr>
          <a:xfrm>
            <a:off x="455832" y="3447434"/>
            <a:ext cx="1700429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模型的分类</a:t>
            </a: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57243E16-445B-4D90-8464-683F43CEA40F}"/>
              </a:ext>
            </a:extLst>
          </p:cNvPr>
          <p:cNvSpPr txBox="1">
            <a:spLocks/>
          </p:cNvSpPr>
          <p:nvPr/>
        </p:nvSpPr>
        <p:spPr>
          <a:xfrm>
            <a:off x="502442" y="4020316"/>
            <a:ext cx="6369626" cy="23171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分布模型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istribution model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) 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描述了轨迹的所有可能性及其概率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样本模型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sample model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)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根据概率进行采样，只产生一条可能的轨迹</a:t>
            </a:r>
            <a:endParaRPr lang="zh-CN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30544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模型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(</a:t>
            </a:r>
            <a:r>
              <a:rPr lang="en-US" altLang="zh-CN" dirty="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Model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)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p:sp>
        <p:nvSpPr>
          <p:cNvPr id="12" name="内容占位符 2">
            <a:extLst>
              <a:ext uri="{FF2B5EF4-FFF2-40B4-BE49-F238E27FC236}">
                <a16:creationId xmlns:a16="http://schemas.microsoft.com/office/drawing/2014/main" id="{04611A04-B48B-5E41-9042-070CFE5ECFE3}"/>
              </a:ext>
            </a:extLst>
          </p:cNvPr>
          <p:cNvSpPr txBox="1">
            <a:spLocks/>
          </p:cNvSpPr>
          <p:nvPr/>
        </p:nvSpPr>
        <p:spPr>
          <a:xfrm>
            <a:off x="502442" y="4533916"/>
            <a:ext cx="7039095" cy="20127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9" name="文本占位符 3">
            <a:extLst>
              <a:ext uri="{FF2B5EF4-FFF2-40B4-BE49-F238E27FC236}">
                <a16:creationId xmlns:a16="http://schemas.microsoft.com/office/drawing/2014/main" id="{421935A6-99EB-4B6A-A3CE-9436927E5C96}"/>
              </a:ext>
            </a:extLst>
          </p:cNvPr>
          <p:cNvSpPr txBox="1">
            <a:spLocks/>
          </p:cNvSpPr>
          <p:nvPr/>
        </p:nvSpPr>
        <p:spPr>
          <a:xfrm>
            <a:off x="502444" y="1242442"/>
            <a:ext cx="1700429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举例</a:t>
            </a:r>
          </a:p>
        </p:txBody>
      </p:sp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57DB526D-09FA-4F03-96F0-8C48A01C440C}"/>
              </a:ext>
            </a:extLst>
          </p:cNvPr>
          <p:cNvSpPr txBox="1">
            <a:spLocks/>
          </p:cNvSpPr>
          <p:nvPr/>
        </p:nvSpPr>
        <p:spPr>
          <a:xfrm>
            <a:off x="502442" y="1720976"/>
            <a:ext cx="8137922" cy="20127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掷骰子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ozen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ice Games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)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分布模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2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得到骰子数字总和的所有可能性及其概率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样本模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2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只采样得到一种骰子数字总和</a:t>
            </a:r>
            <a:endParaRPr lang="zh-CN" altLang="zh-CN" dirty="0"/>
          </a:p>
          <a:p>
            <a:pPr lvl="1"/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3" name="文本占位符 3">
            <a:extLst>
              <a:ext uri="{FF2B5EF4-FFF2-40B4-BE49-F238E27FC236}">
                <a16:creationId xmlns:a16="http://schemas.microsoft.com/office/drawing/2014/main" id="{4701D76C-4B17-4F71-AF06-6940017D0A49}"/>
              </a:ext>
            </a:extLst>
          </p:cNvPr>
          <p:cNvSpPr txBox="1">
            <a:spLocks/>
          </p:cNvSpPr>
          <p:nvPr/>
        </p:nvSpPr>
        <p:spPr>
          <a:xfrm>
            <a:off x="549054" y="3670401"/>
            <a:ext cx="160720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模型的作用</a:t>
            </a: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D6919693-FC39-4197-8AC3-9E9B36CA4E9C}"/>
              </a:ext>
            </a:extLst>
          </p:cNvPr>
          <p:cNvSpPr txBox="1">
            <a:spLocks/>
          </p:cNvSpPr>
          <p:nvPr/>
        </p:nvSpPr>
        <p:spPr>
          <a:xfrm>
            <a:off x="510062" y="4155154"/>
            <a:ext cx="7039095" cy="7026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得到模拟的经验数据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simulated experiences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)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7D28EE78-91C3-44DB-A745-C4D1B81095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5110" y="1709618"/>
            <a:ext cx="2329155" cy="1924963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7F1D36E8-DC03-4772-BA44-B714878363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90995" y="4616499"/>
            <a:ext cx="4315010" cy="217147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47A00273-7206-4D86-BA97-ABB9131B0A1C}"/>
                  </a:ext>
                </a:extLst>
              </p:cNvPr>
              <p:cNvSpPr txBox="1"/>
              <p:nvPr/>
            </p:nvSpPr>
            <p:spPr>
              <a:xfrm>
                <a:off x="3502972" y="6305034"/>
                <a:ext cx="1796329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𝑝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′</m:t>
                          </m:r>
                        </m:sup>
                      </m:sSup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𝑟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| 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 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𝑎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47A00273-7206-4D86-BA97-ABB9131B0A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02972" y="6305034"/>
                <a:ext cx="1796329" cy="369332"/>
              </a:xfrm>
              <a:prstGeom prst="rect">
                <a:avLst/>
              </a:prstGeom>
              <a:blipFill>
                <a:blip r:embed="rId9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4606CAD2-1F34-4D6D-89F9-3F5A2E038AAB}"/>
                  </a:ext>
                </a:extLst>
              </p:cNvPr>
              <p:cNvSpPr txBox="1"/>
              <p:nvPr/>
            </p:nvSpPr>
            <p:spPr>
              <a:xfrm>
                <a:off x="3502972" y="4571022"/>
                <a:ext cx="1796329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𝜋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𝑎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| 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4606CAD2-1F34-4D6D-89F9-3F5A2E038AA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02972" y="4571022"/>
                <a:ext cx="1796329" cy="369332"/>
              </a:xfrm>
              <a:prstGeom prst="rect">
                <a:avLst/>
              </a:prstGeom>
              <a:blipFill>
                <a:blip r:embed="rId10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3B70C4AB-17FD-4752-BDA5-B4C385035D13}"/>
                  </a:ext>
                </a:extLst>
              </p:cNvPr>
              <p:cNvSpPr txBox="1"/>
              <p:nvPr/>
            </p:nvSpPr>
            <p:spPr>
              <a:xfrm>
                <a:off x="5821180" y="5279163"/>
                <a:ext cx="1796329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{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 </m:t>
                          </m:r>
                          <m: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𝑟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}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3B70C4AB-17FD-4752-BDA5-B4C385035D1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21180" y="5279163"/>
                <a:ext cx="1796329" cy="369332"/>
              </a:xfrm>
              <a:prstGeom prst="rect">
                <a:avLst/>
              </a:prstGeom>
              <a:blipFill>
                <a:blip r:embed="rId11"/>
                <a:stretch>
                  <a:fillRect b="-1639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文本框 4">
            <a:extLst>
              <a:ext uri="{FF2B5EF4-FFF2-40B4-BE49-F238E27FC236}">
                <a16:creationId xmlns:a16="http://schemas.microsoft.com/office/drawing/2014/main" id="{D296D2F6-1904-483E-941E-00AD1AFF1B97}"/>
              </a:ext>
            </a:extLst>
          </p:cNvPr>
          <p:cNvSpPr txBox="1"/>
          <p:nvPr/>
        </p:nvSpPr>
        <p:spPr>
          <a:xfrm>
            <a:off x="6175612" y="494035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经验数据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69246C45-6D7B-48F1-A8AA-90C5610DBC85}"/>
              </a:ext>
            </a:extLst>
          </p:cNvPr>
          <p:cNvSpPr txBox="1"/>
          <p:nvPr/>
        </p:nvSpPr>
        <p:spPr>
          <a:xfrm>
            <a:off x="803770" y="4909831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智能体策略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07C1F636-9DDB-4AF8-BF92-A6FA68B7797D}"/>
              </a:ext>
            </a:extLst>
          </p:cNvPr>
          <p:cNvSpPr txBox="1"/>
          <p:nvPr/>
        </p:nvSpPr>
        <p:spPr>
          <a:xfrm>
            <a:off x="962167" y="5974322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环境模型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05137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kumimoji="1" lang="zh-CN" altLang="en-US" dirty="0"/>
              <a:t>规划是什么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28619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规划</a:t>
            </a:r>
            <a:r>
              <a:rPr lang="en-US" altLang="zh-CN" dirty="0"/>
              <a:t>(</a:t>
            </a:r>
            <a:r>
              <a:rPr lang="en-US" altLang="zh-CN" dirty="0">
                <a:solidFill>
                  <a:schemeClr val="accent1"/>
                </a:solidFill>
              </a:rPr>
              <a:t>Planning</a:t>
            </a:r>
            <a:r>
              <a:rPr lang="en-US" altLang="zh-CN" dirty="0"/>
              <a:t>)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 dirty="0"/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333818"/>
            <a:ext cx="8137922" cy="6346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输入一个模型，输出一个策略的搜索过程</a:t>
            </a:r>
            <a:endParaRPr lang="zh-CN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1" name="文本占位符 3">
            <a:extLst>
              <a:ext uri="{FF2B5EF4-FFF2-40B4-BE49-F238E27FC236}">
                <a16:creationId xmlns:a16="http://schemas.microsoft.com/office/drawing/2014/main" id="{3E0A4D71-7302-014E-981B-BBFD3BC9D146}"/>
              </a:ext>
            </a:extLst>
          </p:cNvPr>
          <p:cNvSpPr txBox="1">
            <a:spLocks/>
          </p:cNvSpPr>
          <p:nvPr/>
        </p:nvSpPr>
        <p:spPr>
          <a:xfrm>
            <a:off x="502444" y="3316787"/>
            <a:ext cx="160720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规划的分类</a:t>
            </a:r>
          </a:p>
        </p:txBody>
      </p:sp>
      <p:sp>
        <p:nvSpPr>
          <p:cNvPr id="12" name="内容占位符 2">
            <a:extLst>
              <a:ext uri="{FF2B5EF4-FFF2-40B4-BE49-F238E27FC236}">
                <a16:creationId xmlns:a16="http://schemas.microsoft.com/office/drawing/2014/main" id="{04611A04-B48B-5E41-9042-070CFE5ECFE3}"/>
              </a:ext>
            </a:extLst>
          </p:cNvPr>
          <p:cNvSpPr txBox="1">
            <a:spLocks/>
          </p:cNvSpPr>
          <p:nvPr/>
        </p:nvSpPr>
        <p:spPr>
          <a:xfrm>
            <a:off x="502442" y="3880776"/>
            <a:ext cx="7039095" cy="23596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状态空间的规划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state-space planning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)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状态空间搜索最佳策略，本课程主要围绕这种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规划空间的规划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lan-space planning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)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规划空间搜索最佳策略，包括遗传算法和偏序规划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这时，一个规划就是一个动作集合以及动作顺序的约束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这时的状态就是一个规划，目标状态就是能完成任务的规划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D508C0B-B64B-4CB3-A330-BE1D5C8439C0}"/>
              </a:ext>
            </a:extLst>
          </p:cNvPr>
          <p:cNvSpPr txBox="1"/>
          <p:nvPr/>
        </p:nvSpPr>
        <p:spPr>
          <a:xfrm>
            <a:off x="1899138" y="2006568"/>
            <a:ext cx="6471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模型</a:t>
            </a:r>
          </a:p>
        </p:txBody>
      </p:sp>
      <p:cxnSp>
        <p:nvCxnSpPr>
          <p:cNvPr id="9" name="直接箭头连接符 8">
            <a:extLst>
              <a:ext uri="{FF2B5EF4-FFF2-40B4-BE49-F238E27FC236}">
                <a16:creationId xmlns:a16="http://schemas.microsoft.com/office/drawing/2014/main" id="{6BDEBDED-30B9-4C20-81A8-D56F6ED18F24}"/>
              </a:ext>
            </a:extLst>
          </p:cNvPr>
          <p:cNvCxnSpPr>
            <a:cxnSpLocks/>
            <a:stCxn id="3" idx="3"/>
            <a:endCxn id="13" idx="1"/>
          </p:cNvCxnSpPr>
          <p:nvPr/>
        </p:nvCxnSpPr>
        <p:spPr>
          <a:xfrm>
            <a:off x="2546252" y="2191234"/>
            <a:ext cx="1835834" cy="1745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文本框 12">
            <a:extLst>
              <a:ext uri="{FF2B5EF4-FFF2-40B4-BE49-F238E27FC236}">
                <a16:creationId xmlns:a16="http://schemas.microsoft.com/office/drawing/2014/main" id="{B143A179-CE34-400D-9078-62B82400B48F}"/>
              </a:ext>
            </a:extLst>
          </p:cNvPr>
          <p:cNvSpPr txBox="1"/>
          <p:nvPr/>
        </p:nvSpPr>
        <p:spPr>
          <a:xfrm>
            <a:off x="4382086" y="2024018"/>
            <a:ext cx="6471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策略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DE048AEB-45A0-4AB5-BBB1-B7C41F291C51}"/>
              </a:ext>
            </a:extLst>
          </p:cNvPr>
          <p:cNvSpPr txBox="1"/>
          <p:nvPr/>
        </p:nvSpPr>
        <p:spPr>
          <a:xfrm>
            <a:off x="3140612" y="1839352"/>
            <a:ext cx="6471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规划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725EB7B6-5E82-4FD2-B736-406EC5BD514D}"/>
              </a:ext>
            </a:extLst>
          </p:cNvPr>
          <p:cNvSpPr/>
          <p:nvPr/>
        </p:nvSpPr>
        <p:spPr>
          <a:xfrm>
            <a:off x="449943" y="6357035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sz="1100" dirty="0">
                <a:hlinkClick r:id="rId4"/>
              </a:rPr>
              <a:t>https://www.cs.uni.edu/~wallingf/teaching/161/sessions/session24.pdf</a:t>
            </a:r>
            <a:endParaRPr lang="zh-CN" altLang="en-US" sz="11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4914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规划</a:t>
            </a:r>
            <a:r>
              <a:rPr lang="en-US" altLang="zh-CN" dirty="0"/>
              <a:t>(</a:t>
            </a:r>
            <a:r>
              <a:rPr lang="en-US" altLang="zh-CN" dirty="0">
                <a:solidFill>
                  <a:schemeClr val="accent1"/>
                </a:solidFill>
              </a:rPr>
              <a:t>Planning</a:t>
            </a:r>
            <a:r>
              <a:rPr lang="en-US" altLang="zh-CN" dirty="0"/>
              <a:t>)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 dirty="0"/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BA8BB5BE-7181-BE46-AD89-DA62294A69F2}"/>
              </a:ext>
            </a:extLst>
          </p:cNvPr>
          <p:cNvSpPr txBox="1">
            <a:spLocks/>
          </p:cNvSpPr>
          <p:nvPr/>
        </p:nvSpPr>
        <p:spPr>
          <a:xfrm>
            <a:off x="502444" y="1374739"/>
            <a:ext cx="2351790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规划的通用框架</a:t>
            </a:r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623460" y="1938727"/>
            <a:ext cx="8016905" cy="76822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通过模型采样得到模拟数据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利用模拟数据更新值函数从而改进策略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1" name="文本占位符 3">
            <a:extLst>
              <a:ext uri="{FF2B5EF4-FFF2-40B4-BE49-F238E27FC236}">
                <a16:creationId xmlns:a16="http://schemas.microsoft.com/office/drawing/2014/main" id="{3E0A4D71-7302-014E-981B-BBFD3BC9D146}"/>
              </a:ext>
            </a:extLst>
          </p:cNvPr>
          <p:cNvSpPr txBox="1">
            <a:spLocks/>
          </p:cNvSpPr>
          <p:nvPr/>
        </p:nvSpPr>
        <p:spPr>
          <a:xfrm>
            <a:off x="502441" y="3441073"/>
            <a:ext cx="160720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举例</a:t>
            </a:r>
          </a:p>
        </p:txBody>
      </p:sp>
      <p:sp>
        <p:nvSpPr>
          <p:cNvPr id="12" name="内容占位符 2">
            <a:extLst>
              <a:ext uri="{FF2B5EF4-FFF2-40B4-BE49-F238E27FC236}">
                <a16:creationId xmlns:a16="http://schemas.microsoft.com/office/drawing/2014/main" id="{04611A04-B48B-5E41-9042-070CFE5ECFE3}"/>
              </a:ext>
            </a:extLst>
          </p:cNvPr>
          <p:cNvSpPr txBox="1">
            <a:spLocks/>
          </p:cNvSpPr>
          <p:nvPr/>
        </p:nvSpPr>
        <p:spPr>
          <a:xfrm>
            <a:off x="623460" y="3909959"/>
            <a:ext cx="7039095" cy="11154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9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动态规划</a:t>
            </a:r>
            <a:endParaRPr lang="en-US" altLang="zh-CN" sz="19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搜索整个状态空间，生成所有的状态转移分布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状态转移分布回溯更新状态的值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3" name="文本占位符 3">
            <a:extLst>
              <a:ext uri="{FF2B5EF4-FFF2-40B4-BE49-F238E27FC236}">
                <a16:creationId xmlns:a16="http://schemas.microsoft.com/office/drawing/2014/main" id="{35F9D90A-109A-4BCA-BC51-ED3C854ECB1D}"/>
              </a:ext>
            </a:extLst>
          </p:cNvPr>
          <p:cNvSpPr txBox="1">
            <a:spLocks/>
          </p:cNvSpPr>
          <p:nvPr/>
        </p:nvSpPr>
        <p:spPr>
          <a:xfrm>
            <a:off x="502441" y="5112552"/>
            <a:ext cx="160720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规划的好处</a:t>
            </a: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D4BD64A6-FFFC-4FC4-B504-014ADA1ABEE5}"/>
              </a:ext>
            </a:extLst>
          </p:cNvPr>
          <p:cNvSpPr txBox="1">
            <a:spLocks/>
          </p:cNvSpPr>
          <p:nvPr/>
        </p:nvSpPr>
        <p:spPr>
          <a:xfrm>
            <a:off x="623460" y="5626442"/>
            <a:ext cx="7895886" cy="742416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任何时间点可以被打断或者重定向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复杂问题下，进行小而且增量式的时间步规划是很有效的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A6C22BD9-710A-4A79-AFFC-7E5FF726A497}"/>
              </a:ext>
            </a:extLst>
          </p:cNvPr>
          <p:cNvGrpSpPr/>
          <p:nvPr/>
        </p:nvGrpSpPr>
        <p:grpSpPr>
          <a:xfrm>
            <a:off x="1538514" y="2700148"/>
            <a:ext cx="6666408" cy="1170818"/>
            <a:chOff x="838077" y="2626710"/>
            <a:chExt cx="6666408" cy="1170818"/>
          </a:xfrm>
        </p:grpSpPr>
        <p:sp>
          <p:nvSpPr>
            <p:cNvPr id="38" name="文本框 37">
              <a:extLst>
                <a:ext uri="{FF2B5EF4-FFF2-40B4-BE49-F238E27FC236}">
                  <a16:creationId xmlns:a16="http://schemas.microsoft.com/office/drawing/2014/main" id="{2E76FE3B-7417-49C6-A9A5-9E7D6B5749B5}"/>
                </a:ext>
              </a:extLst>
            </p:cNvPr>
            <p:cNvSpPr txBox="1"/>
            <p:nvPr/>
          </p:nvSpPr>
          <p:spPr>
            <a:xfrm>
              <a:off x="838077" y="2827867"/>
              <a:ext cx="6471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模型</a:t>
              </a:r>
            </a:p>
          </p:txBody>
        </p:sp>
        <p:cxnSp>
          <p:nvCxnSpPr>
            <p:cNvPr id="39" name="直接箭头连接符 38">
              <a:extLst>
                <a:ext uri="{FF2B5EF4-FFF2-40B4-BE49-F238E27FC236}">
                  <a16:creationId xmlns:a16="http://schemas.microsoft.com/office/drawing/2014/main" id="{CBAD1D52-B77D-4F65-B14D-DFFE2A98BF09}"/>
                </a:ext>
              </a:extLst>
            </p:cNvPr>
            <p:cNvCxnSpPr>
              <a:cxnSpLocks/>
              <a:stCxn id="38" idx="3"/>
              <a:endCxn id="40" idx="1"/>
            </p:cNvCxnSpPr>
            <p:nvPr/>
          </p:nvCxnSpPr>
          <p:spPr>
            <a:xfrm flipV="1">
              <a:off x="1485191" y="3008564"/>
              <a:ext cx="1460483" cy="3969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C4EC78B2-FE79-445F-8D2A-1C0782E8B114}"/>
                </a:ext>
              </a:extLst>
            </p:cNvPr>
            <p:cNvSpPr txBox="1"/>
            <p:nvPr/>
          </p:nvSpPr>
          <p:spPr>
            <a:xfrm>
              <a:off x="2945674" y="2685398"/>
              <a:ext cx="64711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模拟经验</a:t>
              </a:r>
            </a:p>
          </p:txBody>
        </p:sp>
        <p:cxnSp>
          <p:nvCxnSpPr>
            <p:cNvPr id="41" name="直接箭头连接符 40">
              <a:extLst>
                <a:ext uri="{FF2B5EF4-FFF2-40B4-BE49-F238E27FC236}">
                  <a16:creationId xmlns:a16="http://schemas.microsoft.com/office/drawing/2014/main" id="{1B5531DB-6F8F-4995-96C8-97223F6345F1}"/>
                </a:ext>
              </a:extLst>
            </p:cNvPr>
            <p:cNvCxnSpPr>
              <a:cxnSpLocks/>
            </p:cNvCxnSpPr>
            <p:nvPr/>
          </p:nvCxnSpPr>
          <p:spPr>
            <a:xfrm>
              <a:off x="3592788" y="3012533"/>
              <a:ext cx="1046536" cy="132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文本框 41">
              <a:extLst>
                <a:ext uri="{FF2B5EF4-FFF2-40B4-BE49-F238E27FC236}">
                  <a16:creationId xmlns:a16="http://schemas.microsoft.com/office/drawing/2014/main" id="{4CD2875F-A45A-4A7F-98D0-A7725F529E80}"/>
                </a:ext>
              </a:extLst>
            </p:cNvPr>
            <p:cNvSpPr txBox="1"/>
            <p:nvPr/>
          </p:nvSpPr>
          <p:spPr>
            <a:xfrm>
              <a:off x="4639324" y="2821962"/>
              <a:ext cx="10465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值函数</a:t>
              </a:r>
            </a:p>
          </p:txBody>
        </p:sp>
        <p:sp>
          <p:nvSpPr>
            <p:cNvPr id="43" name="文本框 42">
              <a:extLst>
                <a:ext uri="{FF2B5EF4-FFF2-40B4-BE49-F238E27FC236}">
                  <a16:creationId xmlns:a16="http://schemas.microsoft.com/office/drawing/2014/main" id="{12C312FE-57FB-41F0-B61A-2A9BB33E63DB}"/>
                </a:ext>
              </a:extLst>
            </p:cNvPr>
            <p:cNvSpPr txBox="1"/>
            <p:nvPr/>
          </p:nvSpPr>
          <p:spPr>
            <a:xfrm>
              <a:off x="3792499" y="2626710"/>
              <a:ext cx="6471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回溯</a:t>
              </a:r>
            </a:p>
          </p:txBody>
        </p:sp>
        <p:cxnSp>
          <p:nvCxnSpPr>
            <p:cNvPr id="44" name="直接箭头连接符 43">
              <a:extLst>
                <a:ext uri="{FF2B5EF4-FFF2-40B4-BE49-F238E27FC236}">
                  <a16:creationId xmlns:a16="http://schemas.microsoft.com/office/drawing/2014/main" id="{D4439828-C286-4604-BDDC-3FFAFB7DBDA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11413" y="2994057"/>
              <a:ext cx="1046536" cy="3969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文本框 44">
              <a:extLst>
                <a:ext uri="{FF2B5EF4-FFF2-40B4-BE49-F238E27FC236}">
                  <a16:creationId xmlns:a16="http://schemas.microsoft.com/office/drawing/2014/main" id="{2343E0E8-0D3F-4075-B875-2EA529224BB8}"/>
                </a:ext>
              </a:extLst>
            </p:cNvPr>
            <p:cNvSpPr txBox="1"/>
            <p:nvPr/>
          </p:nvSpPr>
          <p:spPr>
            <a:xfrm>
              <a:off x="6457949" y="2816311"/>
              <a:ext cx="10465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策略</a:t>
              </a: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31900D5B-E25C-4421-BA18-93564566BC01}"/>
                </a:ext>
              </a:extLst>
            </p:cNvPr>
            <p:cNvSpPr txBox="1"/>
            <p:nvPr/>
          </p:nvSpPr>
          <p:spPr>
            <a:xfrm>
              <a:off x="2098849" y="2626710"/>
              <a:ext cx="6471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采样</a:t>
              </a: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005804CE-077C-4762-A904-FC0DBAAAD70C}"/>
                </a:ext>
              </a:extLst>
            </p:cNvPr>
            <p:cNvSpPr txBox="1"/>
            <p:nvPr/>
          </p:nvSpPr>
          <p:spPr>
            <a:xfrm>
              <a:off x="3731141" y="3428196"/>
              <a:ext cx="6471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规划</a:t>
              </a:r>
            </a:p>
          </p:txBody>
        </p:sp>
      </p:grpSp>
      <p:sp>
        <p:nvSpPr>
          <p:cNvPr id="3" name="矩形 2">
            <a:extLst>
              <a:ext uri="{FF2B5EF4-FFF2-40B4-BE49-F238E27FC236}">
                <a16:creationId xmlns:a16="http://schemas.microsoft.com/office/drawing/2014/main" id="{EDD39BA7-84B1-4C09-B7BA-58734BF3E9FC}"/>
              </a:ext>
            </a:extLst>
          </p:cNvPr>
          <p:cNvSpPr/>
          <p:nvPr/>
        </p:nvSpPr>
        <p:spPr>
          <a:xfrm>
            <a:off x="2799286" y="2700148"/>
            <a:ext cx="3665251" cy="739088"/>
          </a:xfrm>
          <a:prstGeom prst="rect">
            <a:avLst/>
          </a:prstGeom>
          <a:noFill/>
          <a:ln w="19050"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5279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  <p:bldP spid="13" grpId="0" animBg="1"/>
      <p:bldP spid="1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kumimoji="1" lang="zh-CN" altLang="en-US" dirty="0"/>
              <a:t>规划与学习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3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98425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规划与学习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(</a:t>
            </a:r>
            <a:r>
              <a:rPr lang="en-US" altLang="zh-CN" dirty="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Planning and Learning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)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 dirty="0"/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418221"/>
            <a:ext cx="8137922" cy="31086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不同点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规划：利用</a:t>
            </a:r>
            <a:r>
              <a:rPr lang="zh-CN" altLang="en-US" b="1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模型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产生的模拟经验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学习：利用</a:t>
            </a:r>
            <a:r>
              <a:rPr lang="zh-CN" altLang="en-US" b="1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环境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产生的真实经验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相同点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通过回溯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back-up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)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更新值函数的估计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统一来看，学习的方法可以用在模拟经验上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: 圆角 4">
                <a:extLst>
                  <a:ext uri="{FF2B5EF4-FFF2-40B4-BE49-F238E27FC236}">
                    <a16:creationId xmlns:a16="http://schemas.microsoft.com/office/drawing/2014/main" id="{666564C7-4943-4622-9566-C80C1F24843F}"/>
                  </a:ext>
                </a:extLst>
              </p:cNvPr>
              <p:cNvSpPr/>
              <p:nvPr/>
            </p:nvSpPr>
            <p:spPr>
              <a:xfrm>
                <a:off x="911166" y="3862067"/>
                <a:ext cx="7321668" cy="2251139"/>
              </a:xfrm>
              <a:prstGeom prst="roundRect">
                <a:avLst>
                  <a:gd name="adj" fmla="val 6664"/>
                </a:avLst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Aft>
                    <a:spcPts val="0"/>
                  </a:spcAft>
                </a:pPr>
                <a:r>
                  <a:rPr lang="zh-CN" altLang="en-US" dirty="0">
                    <a:solidFill>
                      <a:schemeClr val="tx1"/>
                    </a:solidFill>
                    <a:ea typeface="阿里巴巴普惠体 B" panose="00020600040101010101"/>
                  </a:rPr>
                  <a:t>算法</a:t>
                </a:r>
                <a:r>
                  <a:rPr lang="en-US" altLang="zh-CN" dirty="0">
                    <a:solidFill>
                      <a:schemeClr val="tx1"/>
                    </a:solidFill>
                    <a:ea typeface="阿里巴巴普惠体 B" panose="00020600040101010101"/>
                  </a:rPr>
                  <a:t>: </a:t>
                </a:r>
                <a:r>
                  <a:rPr lang="zh-CN" altLang="zh-CN" dirty="0">
                    <a:solidFill>
                      <a:schemeClr val="tx1"/>
                    </a:solidFill>
                    <a:ea typeface="阿里巴巴普惠体 B" panose="00020600040101010101"/>
                  </a:rPr>
                  <a:t>一时间步随机采样表格</a:t>
                </a:r>
                <a:r>
                  <a:rPr lang="en-US" altLang="zh-CN" dirty="0">
                    <a:solidFill>
                      <a:schemeClr val="tx1"/>
                    </a:solidFill>
                    <a:ea typeface="阿里巴巴普惠体 B" panose="00020600040101010101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B" panose="00020600040101010101"/>
                      </a:rPr>
                      <m:t>𝑄</m:t>
                    </m:r>
                  </m:oMath>
                </a14:m>
                <a:r>
                  <a:rPr lang="en-US" altLang="zh-CN" dirty="0">
                    <a:solidFill>
                      <a:schemeClr val="tx1"/>
                    </a:solidFill>
                    <a:ea typeface="阿里巴巴普惠体 B" panose="00020600040101010101"/>
                  </a:rPr>
                  <a:t> </a:t>
                </a:r>
                <a:r>
                  <a:rPr lang="zh-CN" altLang="zh-CN" dirty="0">
                    <a:solidFill>
                      <a:schemeClr val="tx1"/>
                    </a:solidFill>
                    <a:ea typeface="阿里巴巴普惠体 B" panose="00020600040101010101"/>
                  </a:rPr>
                  <a:t>规划</a:t>
                </a:r>
                <a:endParaRPr lang="en-US" altLang="zh-CN" dirty="0">
                  <a:solidFill>
                    <a:schemeClr val="tx1"/>
                  </a:solidFill>
                  <a:ea typeface="阿里巴巴普惠体 B" panose="00020600040101010101"/>
                </a:endParaRPr>
              </a:p>
              <a:p>
                <a:pPr algn="just">
                  <a:spcAft>
                    <a:spcPts val="0"/>
                  </a:spcAft>
                </a:pPr>
                <a:r>
                  <a:rPr lang="zh-CN" altLang="zh-CN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重复以下步骤</a:t>
                </a:r>
                <a:r>
                  <a:rPr lang="en-US" altLang="zh-CN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:</a:t>
                </a:r>
                <a:endParaRPr lang="zh-CN" altLang="zh-CN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zh-CN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随机选择一个状态</a:t>
                </a:r>
                <a:r>
                  <a:rPr lang="en-US" altLang="zh-CN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zh-CN" altLang="zh-CN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Times New Roman" panose="02020603050405020304" pitchFamily="18" charset="0"/>
                      </a:rPr>
                      <m:t>∈</m:t>
                    </m:r>
                    <m:r>
                      <a:rPr lang="en-US" altLang="zh-CN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𝒮</m:t>
                    </m:r>
                  </m:oMath>
                </a14:m>
                <a:r>
                  <a:rPr lang="en-US" altLang="zh-CN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zh-CN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一个动作</a:t>
                </a:r>
                <a14:m>
                  <m:oMath xmlns:m="http://schemas.openxmlformats.org/officeDocument/2006/math">
                    <m:r>
                      <a:rPr lang="en-US" altLang="zh-CN" b="0" i="0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  <m:r>
                      <a:rPr lang="zh-CN" altLang="zh-CN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Times New Roman" panose="02020603050405020304" pitchFamily="18" charset="0"/>
                      </a:rPr>
                      <m:t>∈</m:t>
                    </m:r>
                    <m:r>
                      <a:rPr lang="en-US" altLang="zh-CN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𝒜</m:t>
                    </m:r>
                    <m:d>
                      <m:dPr>
                        <m:ctrlPr>
                          <a:rPr lang="zh-CN" altLang="zh-CN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</m:d>
                  </m:oMath>
                </a14:m>
                <a:endParaRPr lang="zh-CN" altLang="zh-CN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zh-CN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把</a:t>
                </a:r>
                <a:r>
                  <a:rPr lang="en-US" altLang="zh-CN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en-US" altLang="zh-CN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</m:oMath>
                </a14:m>
                <a:r>
                  <a:rPr lang="en-US" altLang="zh-CN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zh-CN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输入采样模型，然后获得采样得到的奖励</a:t>
                </a:r>
                <a14:m>
                  <m:oMath xmlns:m="http://schemas.openxmlformats.org/officeDocument/2006/math">
                    <m:r>
                      <a:rPr lang="en-US" altLang="zh-CN" b="0" i="0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  <m:r>
                      <a:rPr lang="en-US" altLang="zh-CN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</m:oMath>
                </a14:m>
                <a:r>
                  <a:rPr lang="zh-CN" altLang="zh-CN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下一个状态</a:t>
                </a:r>
                <a:r>
                  <a:rPr lang="en-US" altLang="zh-CN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zh-CN" altLang="zh-CN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  <m:sup>
                        <m:r>
                          <a:rPr lang="en-US" altLang="zh-CN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</m:sup>
                    </m:sSup>
                  </m:oMath>
                </a14:m>
                <a:endParaRPr lang="zh-CN" altLang="zh-CN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zh-CN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</a:t>
                </a:r>
                <a:r>
                  <a:rPr lang="en-US" altLang="zh-CN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en-US" altLang="zh-CN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  <m:r>
                      <a:rPr lang="en-US" altLang="zh-CN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  <m:r>
                      <a:rPr lang="en-US" altLang="zh-CN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p>
                      <m:sSupPr>
                        <m:ctrlPr>
                          <a:rPr lang="zh-CN" altLang="zh-CN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  <m:sup>
                        <m:r>
                          <a:rPr lang="en-US" altLang="zh-CN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  <m:r>
                          <a:rPr lang="en-US" altLang="zh-CN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 </m:t>
                        </m:r>
                      </m:sup>
                    </m:sSup>
                  </m:oMath>
                </a14:m>
                <a:r>
                  <a:rPr lang="en-US" altLang="zh-CN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zh-CN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进行一时间步表格</a:t>
                </a:r>
                <a14:m>
                  <m:oMath xmlns:m="http://schemas.openxmlformats.org/officeDocument/2006/math">
                    <m:r>
                      <a:rPr lang="en-US" altLang="zh-CN" b="0" i="0" kern="1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i="1" kern="1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r>
                      <a:rPr lang="en-US" altLang="zh-CN" b="0" i="1" kern="1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</m:oMath>
                </a14:m>
                <a:r>
                  <a:rPr lang="zh-CN" altLang="zh-CN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学习</a:t>
                </a:r>
                <a:r>
                  <a:rPr lang="en-US" altLang="zh-CN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:</a:t>
                </a:r>
                <a:endParaRPr lang="zh-CN" altLang="zh-CN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228600" indent="266700" algn="just"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kern="1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𝑄</m:t>
                      </m:r>
                      <m:d>
                        <m:dPr>
                          <m:ctrlPr>
                            <a:rPr lang="zh-CN" altLang="zh-CN" i="1" kern="1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 kern="1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𝑆</m:t>
                          </m:r>
                          <m:r>
                            <a:rPr lang="en-US" altLang="zh-CN" i="1" kern="1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 kern="1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𝐴</m:t>
                          </m:r>
                        </m:e>
                      </m:d>
                      <m:r>
                        <a:rPr lang="zh-CN" altLang="zh-CN" kern="1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Times New Roman" panose="02020603050405020304" pitchFamily="18" charset="0"/>
                        </a:rPr>
                        <m:t>←</m:t>
                      </m:r>
                      <m:r>
                        <a:rPr lang="en-US" altLang="zh-CN" i="1" kern="1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𝑄</m:t>
                      </m:r>
                      <m:d>
                        <m:dPr>
                          <m:ctrlPr>
                            <a:rPr lang="zh-CN" altLang="zh-CN" i="1" kern="1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 kern="1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𝑆</m:t>
                          </m:r>
                          <m:r>
                            <a:rPr lang="en-US" altLang="zh-CN" i="1" kern="1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 kern="1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𝐴</m:t>
                          </m:r>
                        </m:e>
                      </m:d>
                      <m:r>
                        <a:rPr lang="en-US" altLang="zh-CN" i="1" kern="1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i="1" kern="1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𝛼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zh-CN" i="1" kern="1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 kern="1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𝑅</m:t>
                          </m:r>
                          <m:r>
                            <a:rPr lang="en-US" altLang="zh-CN" i="1" kern="1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i="1" kern="1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𝛾</m:t>
                          </m:r>
                          <m:func>
                            <m:funcPr>
                              <m:ctrlPr>
                                <a:rPr lang="zh-CN" altLang="zh-CN" i="1" kern="1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zh-CN" altLang="zh-CN" i="1" kern="10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kern="10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max</m:t>
                                  </m:r>
                                </m:e>
                                <m:lim>
                                  <m:r>
                                    <a:rPr lang="en-US" altLang="zh-CN" i="1" kern="10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lim>
                              </m:limLow>
                            </m:fName>
                            <m:e>
                              <m:r>
                                <a:rPr lang="en-US" altLang="zh-CN" i="1" kern="1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</m:func>
                          <m:d>
                            <m:dPr>
                              <m:ctrlPr>
                                <a:rPr lang="zh-CN" altLang="zh-CN" i="1" kern="1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zh-CN" i="1" kern="10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 kern="10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𝑆</m:t>
                                  </m:r>
                                </m:e>
                                <m:sup>
                                  <m:r>
                                    <a:rPr lang="en-US" altLang="zh-CN" i="1" kern="10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i="1" kern="1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i="1" kern="1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  <m:r>
                            <a:rPr lang="en-US" altLang="zh-CN" i="1" kern="1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i="1" kern="1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  <m:d>
                            <m:dPr>
                              <m:ctrlPr>
                                <a:rPr lang="zh-CN" altLang="zh-CN" i="1" kern="1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 kern="1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𝑆</m:t>
                              </m:r>
                              <m:r>
                                <a:rPr lang="en-US" altLang="zh-CN" i="1" kern="1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i="1" kern="1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𝐴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zh-CN" altLang="zh-CN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矩形: 圆角 4">
                <a:extLst>
                  <a:ext uri="{FF2B5EF4-FFF2-40B4-BE49-F238E27FC236}">
                    <a16:creationId xmlns:a16="http://schemas.microsoft.com/office/drawing/2014/main" id="{666564C7-4943-4622-9566-C80C1F24843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1166" y="3862067"/>
                <a:ext cx="7321668" cy="2251139"/>
              </a:xfrm>
              <a:prstGeom prst="roundRect">
                <a:avLst>
                  <a:gd name="adj" fmla="val 6664"/>
                </a:avLst>
              </a:prstGeom>
              <a:blipFill>
                <a:blip r:embed="rId5"/>
                <a:stretch>
                  <a:fillRect/>
                </a:stretch>
              </a:blipFill>
              <a:ln>
                <a:solidFill>
                  <a:schemeClr val="accen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77994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475200"/>
            <a:ext cx="8137922" cy="553500"/>
          </a:xfrm>
        </p:spPr>
        <p:txBody>
          <a:bodyPr/>
          <a:lstStyle/>
          <a:p>
            <a:r>
              <a:rPr lang="zh-CN" altLang="en-US" dirty="0"/>
              <a:t>课程大纲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7ABE3"/>
              </a:solidFill>
              <a:effectLst/>
              <a:uLnTx/>
              <a:uFillTx/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4296DFD-E508-42FA-958A-3E7E11E25FD0}"/>
              </a:ext>
            </a:extLst>
          </p:cNvPr>
          <p:cNvSpPr/>
          <p:nvPr/>
        </p:nvSpPr>
        <p:spPr>
          <a:xfrm>
            <a:off x="4574342" y="1375401"/>
            <a:ext cx="4107305" cy="44716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1524147-056F-43D7-83E9-6329A912AA9F}"/>
              </a:ext>
            </a:extLst>
          </p:cNvPr>
          <p:cNvSpPr/>
          <p:nvPr/>
        </p:nvSpPr>
        <p:spPr>
          <a:xfrm>
            <a:off x="389744" y="1375401"/>
            <a:ext cx="4107305" cy="44716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3" name="内容占位符 3">
            <a:extLst>
              <a:ext uri="{FF2B5EF4-FFF2-40B4-BE49-F238E27FC236}">
                <a16:creationId xmlns:a16="http://schemas.microsoft.com/office/drawing/2014/main" id="{35F314D7-0FDD-4D89-AF44-585DD2B76D8D}"/>
              </a:ext>
            </a:extLst>
          </p:cNvPr>
          <p:cNvSpPr txBox="1">
            <a:spLocks/>
          </p:cNvSpPr>
          <p:nvPr/>
        </p:nvSpPr>
        <p:spPr>
          <a:xfrm>
            <a:off x="550129" y="2161303"/>
            <a:ext cx="3886200" cy="383329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强化学习、探索与利用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MDP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和动态规划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值函数估计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无模型控制方法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FF0000"/>
                </a:solidFill>
                <a:ea typeface="阿里巴巴普惠体 R" panose="00020600040101010101"/>
              </a:rPr>
              <a:t>规划与学习</a:t>
            </a:r>
            <a:endParaRPr lang="en-US" sz="2400" dirty="0">
              <a:solidFill>
                <a:srgbClr val="FF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参数化的值函数和策略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深度强化学习价值方法</a:t>
            </a:r>
            <a:endParaRPr lang="en-US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深度强化学习策略方法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</p:txBody>
      </p:sp>
      <p:sp>
        <p:nvSpPr>
          <p:cNvPr id="14" name="内容占位符 4">
            <a:extLst>
              <a:ext uri="{FF2B5EF4-FFF2-40B4-BE49-F238E27FC236}">
                <a16:creationId xmlns:a16="http://schemas.microsoft.com/office/drawing/2014/main" id="{6D3298F2-5082-4464-B494-69D8F2C400B7}"/>
              </a:ext>
            </a:extLst>
          </p:cNvPr>
          <p:cNvSpPr txBox="1">
            <a:spLocks/>
          </p:cNvSpPr>
          <p:nvPr/>
        </p:nvSpPr>
        <p:spPr>
          <a:xfrm>
            <a:off x="4629150" y="2161303"/>
            <a:ext cx="4190510" cy="389325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dirty="0">
                <a:solidFill>
                  <a:srgbClr val="000000"/>
                </a:solidFill>
                <a:ea typeface="阿里巴巴普惠体 R" panose="00020600040101010101"/>
              </a:rPr>
              <a:t>  9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基于模型的深度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0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模仿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indent="0">
              <a:buNone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1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离线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2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参数化动作空间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3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目标导向的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4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多智能体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5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强化学习大模型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6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技术交流与回顾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7922843E-8B2C-474B-B4E6-1BF440AA651B}"/>
              </a:ext>
            </a:extLst>
          </p:cNvPr>
          <p:cNvSpPr/>
          <p:nvPr/>
        </p:nvSpPr>
        <p:spPr>
          <a:xfrm>
            <a:off x="902675" y="1397001"/>
            <a:ext cx="308144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基础部分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90C5F941-010B-4E6A-B42B-E0A68B592CA6}"/>
              </a:ext>
            </a:extLst>
          </p:cNvPr>
          <p:cNvSpPr/>
          <p:nvPr/>
        </p:nvSpPr>
        <p:spPr>
          <a:xfrm>
            <a:off x="5400966" y="1397001"/>
            <a:ext cx="2646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前沿部分</a:t>
            </a:r>
          </a:p>
        </p:txBody>
      </p:sp>
    </p:spTree>
    <p:extLst>
      <p:ext uri="{BB962C8B-B14F-4D97-AF65-F5344CB8AC3E}">
        <p14:creationId xmlns:p14="http://schemas.microsoft.com/office/powerpoint/2010/main" val="3699609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kumimoji="1" lang="en-US" altLang="zh-CN"/>
              <a:t>Dyna </a:t>
            </a:r>
            <a:r>
              <a:rPr kumimoji="1" lang="zh-CN" altLang="en-US"/>
              <a:t>算法</a:t>
            </a:r>
            <a:endParaRPr kumimoji="1" lang="zh-CN" altLang="en-US" dirty="0"/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4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4207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Dyna (</a:t>
            </a:r>
            <a:r>
              <a:rPr lang="zh-CN" altLang="en-US" dirty="0"/>
              <a:t>集成规划、决策和学习</a:t>
            </a:r>
            <a:r>
              <a:rPr lang="en-US" altLang="zh-CN" dirty="0"/>
              <a:t>)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 dirty="0"/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BA8BB5BE-7181-BE46-AD89-DA62294A69F2}"/>
              </a:ext>
            </a:extLst>
          </p:cNvPr>
          <p:cNvSpPr txBox="1">
            <a:spLocks/>
          </p:cNvSpPr>
          <p:nvPr/>
        </p:nvSpPr>
        <p:spPr>
          <a:xfrm>
            <a:off x="502444" y="1374739"/>
            <a:ext cx="218913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经验的不同用途</a:t>
            </a:r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938726"/>
            <a:ext cx="3566219" cy="34598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更新模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模型学习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, 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或间接强化学习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经验数据的需求少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更新值函数和策略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直接强化学习（无模型强化学习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简单且不受模型偏差的影响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51" name="组合 50">
            <a:extLst>
              <a:ext uri="{FF2B5EF4-FFF2-40B4-BE49-F238E27FC236}">
                <a16:creationId xmlns:a16="http://schemas.microsoft.com/office/drawing/2014/main" id="{A37ADDB8-D61B-4293-9C3C-2916BBA58F8A}"/>
              </a:ext>
            </a:extLst>
          </p:cNvPr>
          <p:cNvGrpSpPr/>
          <p:nvPr/>
        </p:nvGrpSpPr>
        <p:grpSpPr>
          <a:xfrm>
            <a:off x="3981157" y="1282119"/>
            <a:ext cx="5162844" cy="4246484"/>
            <a:chOff x="738551" y="2210590"/>
            <a:chExt cx="5097671" cy="4157377"/>
          </a:xfrm>
        </p:grpSpPr>
        <p:pic>
          <p:nvPicPr>
            <p:cNvPr id="37" name="图片 36">
              <a:extLst>
                <a:ext uri="{FF2B5EF4-FFF2-40B4-BE49-F238E27FC236}">
                  <a16:creationId xmlns:a16="http://schemas.microsoft.com/office/drawing/2014/main" id="{4B46914C-7FFB-4018-A7DB-5EAC18BC0E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6615"/>
            <a:stretch/>
          </p:blipFill>
          <p:spPr>
            <a:xfrm>
              <a:off x="738551" y="2210590"/>
              <a:ext cx="5097671" cy="4157377"/>
            </a:xfrm>
            <a:prstGeom prst="rect">
              <a:avLst/>
            </a:prstGeom>
          </p:spPr>
        </p:pic>
        <p:sp>
          <p:nvSpPr>
            <p:cNvPr id="38" name="矩形 37">
              <a:extLst>
                <a:ext uri="{FF2B5EF4-FFF2-40B4-BE49-F238E27FC236}">
                  <a16:creationId xmlns:a16="http://schemas.microsoft.com/office/drawing/2014/main" id="{DFB113A4-2758-49BE-A8B3-9A3A065DB390}"/>
                </a:ext>
              </a:extLst>
            </p:cNvPr>
            <p:cNvSpPr/>
            <p:nvPr/>
          </p:nvSpPr>
          <p:spPr>
            <a:xfrm>
              <a:off x="2571940" y="2422254"/>
              <a:ext cx="1636665" cy="31151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值函数</a:t>
              </a:r>
              <a:r>
                <a:rPr lang="en-US" altLang="zh-CN" sz="20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/</a:t>
              </a:r>
              <a:r>
                <a:rPr lang="zh-CN" altLang="en-US" sz="20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策略</a:t>
              </a:r>
            </a:p>
          </p:txBody>
        </p:sp>
        <p:sp>
          <p:nvSpPr>
            <p:cNvPr id="39" name="矩形 38">
              <a:extLst>
                <a:ext uri="{FF2B5EF4-FFF2-40B4-BE49-F238E27FC236}">
                  <a16:creationId xmlns:a16="http://schemas.microsoft.com/office/drawing/2014/main" id="{66B26C4B-728C-4C7A-B044-D6B2A9A604FE}"/>
                </a:ext>
              </a:extLst>
            </p:cNvPr>
            <p:cNvSpPr/>
            <p:nvPr/>
          </p:nvSpPr>
          <p:spPr>
            <a:xfrm>
              <a:off x="3879890" y="4682611"/>
              <a:ext cx="1636665" cy="31151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经验</a:t>
              </a:r>
            </a:p>
          </p:txBody>
        </p:sp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02F0197-8BB0-4177-80CE-2BCB67630B3C}"/>
                </a:ext>
              </a:extLst>
            </p:cNvPr>
            <p:cNvSpPr/>
            <p:nvPr/>
          </p:nvSpPr>
          <p:spPr>
            <a:xfrm>
              <a:off x="1242354" y="4700920"/>
              <a:ext cx="1636665" cy="31151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模型</a:t>
              </a: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E39CAD68-CD7F-4ECF-A752-20DEF1CA901B}"/>
                </a:ext>
              </a:extLst>
            </p:cNvPr>
            <p:cNvSpPr/>
            <p:nvPr/>
          </p:nvSpPr>
          <p:spPr>
            <a:xfrm>
              <a:off x="3578815" y="3496437"/>
              <a:ext cx="1155437" cy="60195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直接强化学习</a:t>
              </a:r>
            </a:p>
          </p:txBody>
        </p:sp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3BE5D541-5F51-4E9B-85DD-723A41C14268}"/>
                </a:ext>
              </a:extLst>
            </p:cNvPr>
            <p:cNvSpPr/>
            <p:nvPr/>
          </p:nvSpPr>
          <p:spPr>
            <a:xfrm>
              <a:off x="3481220" y="3335363"/>
              <a:ext cx="195192" cy="554315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AC656A5B-6C81-4F8A-875C-EA2AA3A4D814}"/>
                </a:ext>
              </a:extLst>
            </p:cNvPr>
            <p:cNvSpPr/>
            <p:nvPr/>
          </p:nvSpPr>
          <p:spPr>
            <a:xfrm>
              <a:off x="4990597" y="3195459"/>
              <a:ext cx="655865" cy="560536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行动</a:t>
              </a:r>
            </a:p>
          </p:txBody>
        </p:sp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8D9FC0B0-2A69-4136-8FD5-324A515CD988}"/>
                </a:ext>
              </a:extLst>
            </p:cNvPr>
            <p:cNvSpPr/>
            <p:nvPr/>
          </p:nvSpPr>
          <p:spPr>
            <a:xfrm>
              <a:off x="885323" y="3215269"/>
              <a:ext cx="836674" cy="60195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规划</a:t>
              </a:r>
            </a:p>
          </p:txBody>
        </p:sp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A157636D-4A5C-4EC0-86AA-4431CA14DDDA}"/>
                </a:ext>
              </a:extLst>
            </p:cNvPr>
            <p:cNvSpPr/>
            <p:nvPr/>
          </p:nvSpPr>
          <p:spPr>
            <a:xfrm>
              <a:off x="2903502" y="5638698"/>
              <a:ext cx="1155437" cy="60195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模型学习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5947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Dyna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 dirty="0"/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BA8BB5BE-7181-BE46-AD89-DA62294A69F2}"/>
              </a:ext>
            </a:extLst>
          </p:cNvPr>
          <p:cNvSpPr txBox="1">
            <a:spLocks/>
          </p:cNvSpPr>
          <p:nvPr/>
        </p:nvSpPr>
        <p:spPr>
          <a:xfrm>
            <a:off x="502445" y="1374739"/>
            <a:ext cx="1783556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Dyna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的框架</a:t>
            </a:r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938727"/>
            <a:ext cx="8137922" cy="41808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和环境交互产生真实经验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左边代表直接强化学习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更新值函数和策略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右下角落边代表学习模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真实经验更新模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右边代表基于模型的规划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于模型随机采样得到模拟经验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2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只从以前得到的状态动作对随机采样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模拟经验做规划更新值函数和策略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DCD84F4B-15D9-4F41-A9D7-93929F4C509C}"/>
              </a:ext>
            </a:extLst>
          </p:cNvPr>
          <p:cNvSpPr txBox="1">
            <a:spLocks/>
          </p:cNvSpPr>
          <p:nvPr/>
        </p:nvSpPr>
        <p:spPr>
          <a:xfrm>
            <a:off x="-1287069" y="4374069"/>
            <a:ext cx="4926808" cy="1142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9" name="页脚占位符 2">
            <a:extLst>
              <a:ext uri="{FF2B5EF4-FFF2-40B4-BE49-F238E27FC236}">
                <a16:creationId xmlns:a16="http://schemas.microsoft.com/office/drawing/2014/main" id="{6705FEEB-DF3F-448D-A792-29DDD993C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5955506" cy="327250"/>
          </a:xfrm>
        </p:spPr>
        <p:txBody>
          <a:bodyPr/>
          <a:lstStyle/>
          <a:p>
            <a:r>
              <a:rPr lang="en-US" altLang="zh-CN" dirty="0"/>
              <a:t>Sutton, Richard S. "Dyna, an integrated architecture for learning, planning, and reacting." ACM </a:t>
            </a:r>
            <a:r>
              <a:rPr lang="en-US" altLang="zh-CN" dirty="0" err="1"/>
              <a:t>Sigart</a:t>
            </a:r>
            <a:r>
              <a:rPr lang="en-US" altLang="zh-CN" dirty="0"/>
              <a:t> Bulletin 2.4 (1991): 160-163.</a:t>
            </a:r>
          </a:p>
        </p:txBody>
      </p: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02D6A61E-F32F-4833-ABC1-F80B52C98445}"/>
              </a:ext>
            </a:extLst>
          </p:cNvPr>
          <p:cNvGrpSpPr/>
          <p:nvPr/>
        </p:nvGrpSpPr>
        <p:grpSpPr>
          <a:xfrm>
            <a:off x="4522764" y="1092497"/>
            <a:ext cx="4480560" cy="3281572"/>
            <a:chOff x="3942341" y="1052722"/>
            <a:chExt cx="5055817" cy="3479193"/>
          </a:xfrm>
        </p:grpSpPr>
        <p:pic>
          <p:nvPicPr>
            <p:cNvPr id="15" name="图片 14">
              <a:extLst>
                <a:ext uri="{FF2B5EF4-FFF2-40B4-BE49-F238E27FC236}">
                  <a16:creationId xmlns:a16="http://schemas.microsoft.com/office/drawing/2014/main" id="{2C187086-A8BB-4671-B1F5-4E713D3AD8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640"/>
            <a:stretch/>
          </p:blipFill>
          <p:spPr>
            <a:xfrm>
              <a:off x="4275533" y="1052722"/>
              <a:ext cx="4722625" cy="3479193"/>
            </a:xfrm>
            <a:prstGeom prst="rect">
              <a:avLst/>
            </a:prstGeom>
          </p:spPr>
        </p:pic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C2D83E36-DF9B-4CBE-9850-F422D51C067C}"/>
                </a:ext>
              </a:extLst>
            </p:cNvPr>
            <p:cNvSpPr/>
            <p:nvPr/>
          </p:nvSpPr>
          <p:spPr>
            <a:xfrm>
              <a:off x="5259846" y="1405863"/>
              <a:ext cx="2082586" cy="38113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策略</a:t>
              </a:r>
              <a:r>
                <a:rPr lang="en-US" altLang="zh-CN" sz="20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/</a:t>
              </a:r>
              <a:r>
                <a:rPr lang="zh-CN" altLang="en-US" sz="20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值函数</a:t>
              </a: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AE99AA91-D3D1-418C-9836-6C62E3D4EA4E}"/>
                </a:ext>
              </a:extLst>
            </p:cNvPr>
            <p:cNvSpPr/>
            <p:nvPr/>
          </p:nvSpPr>
          <p:spPr>
            <a:xfrm>
              <a:off x="7589438" y="3454543"/>
              <a:ext cx="1118464" cy="56875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模型</a:t>
              </a:r>
            </a:p>
          </p:txBody>
        </p:sp>
        <p:sp>
          <p:nvSpPr>
            <p:cNvPr id="10" name="矩形: 圆角 9">
              <a:extLst>
                <a:ext uri="{FF2B5EF4-FFF2-40B4-BE49-F238E27FC236}">
                  <a16:creationId xmlns:a16="http://schemas.microsoft.com/office/drawing/2014/main" id="{8C834A25-065F-443E-9BB9-0B746171DF98}"/>
                </a:ext>
              </a:extLst>
            </p:cNvPr>
            <p:cNvSpPr/>
            <p:nvPr/>
          </p:nvSpPr>
          <p:spPr>
            <a:xfrm>
              <a:off x="5422217" y="3830101"/>
              <a:ext cx="1871881" cy="568758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</a:rPr>
                <a:t>环境</a:t>
              </a:r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6BDA9FD2-06E7-4676-B0BC-D8D9F2D61BF8}"/>
                </a:ext>
              </a:extLst>
            </p:cNvPr>
            <p:cNvSpPr/>
            <p:nvPr/>
          </p:nvSpPr>
          <p:spPr>
            <a:xfrm>
              <a:off x="7549157" y="2229183"/>
              <a:ext cx="1216072" cy="58903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dirty="0">
                  <a:solidFill>
                    <a:schemeClr val="tx1"/>
                  </a:solidFill>
                </a:rPr>
                <a:t>模拟经验</a:t>
              </a:r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ABD4D291-8D78-4485-8AAA-A1FF1763B01C}"/>
                </a:ext>
              </a:extLst>
            </p:cNvPr>
            <p:cNvSpPr/>
            <p:nvPr/>
          </p:nvSpPr>
          <p:spPr>
            <a:xfrm>
              <a:off x="5766483" y="2533841"/>
              <a:ext cx="1105201" cy="568759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dirty="0">
                  <a:solidFill>
                    <a:schemeClr val="tx1"/>
                  </a:solidFill>
                </a:rPr>
                <a:t>真实经验</a:t>
              </a:r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7E3FA50E-1157-4090-AB90-33038416F37E}"/>
                </a:ext>
              </a:extLst>
            </p:cNvPr>
            <p:cNvSpPr/>
            <p:nvPr/>
          </p:nvSpPr>
          <p:spPr>
            <a:xfrm>
              <a:off x="3942341" y="2329206"/>
              <a:ext cx="1105201" cy="58903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直接强化</a:t>
              </a:r>
              <a:endParaRPr lang="en-US" altLang="zh-CN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  <a:p>
              <a:pPr algn="ctr"/>
              <a:r>
                <a:rPr lang="zh-CN" altLang="en-US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学习更新</a:t>
              </a:r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0BE4E859-F73F-40CD-BF84-C0B4E343C610}"/>
                </a:ext>
              </a:extLst>
            </p:cNvPr>
            <p:cNvSpPr/>
            <p:nvPr/>
          </p:nvSpPr>
          <p:spPr>
            <a:xfrm>
              <a:off x="7130200" y="1914705"/>
              <a:ext cx="1296349" cy="225435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规划更新</a:t>
              </a: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8AFD9761-7D45-4E05-9E87-F73577616FA1}"/>
                </a:ext>
              </a:extLst>
            </p:cNvPr>
            <p:cNvSpPr/>
            <p:nvPr/>
          </p:nvSpPr>
          <p:spPr>
            <a:xfrm>
              <a:off x="8169773" y="2930331"/>
              <a:ext cx="632862" cy="412100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搜索</a:t>
              </a:r>
              <a:endParaRPr lang="en-US" altLang="zh-CN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  <a:p>
              <a:pPr algn="ctr"/>
              <a:r>
                <a:rPr lang="zh-CN" altLang="en-US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控制</a:t>
              </a:r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58635298-2345-460D-A02E-8D70907EA04A}"/>
                </a:ext>
              </a:extLst>
            </p:cNvPr>
            <p:cNvSpPr/>
            <p:nvPr/>
          </p:nvSpPr>
          <p:spPr>
            <a:xfrm>
              <a:off x="6963508" y="2862775"/>
              <a:ext cx="858129" cy="499403"/>
            </a:xfrm>
            <a:custGeom>
              <a:avLst/>
              <a:gdLst>
                <a:gd name="connsiteX0" fmla="*/ 752621 w 858129"/>
                <a:gd name="connsiteY0" fmla="*/ 253219 h 499403"/>
                <a:gd name="connsiteX1" fmla="*/ 752621 w 858129"/>
                <a:gd name="connsiteY1" fmla="*/ 253219 h 499403"/>
                <a:gd name="connsiteX2" fmla="*/ 717452 w 858129"/>
                <a:gd name="connsiteY2" fmla="*/ 203982 h 499403"/>
                <a:gd name="connsiteX3" fmla="*/ 654147 w 858129"/>
                <a:gd name="connsiteY3" fmla="*/ 196948 h 499403"/>
                <a:gd name="connsiteX4" fmla="*/ 633046 w 858129"/>
                <a:gd name="connsiteY4" fmla="*/ 189914 h 499403"/>
                <a:gd name="connsiteX5" fmla="*/ 618978 w 858129"/>
                <a:gd name="connsiteY5" fmla="*/ 168813 h 499403"/>
                <a:gd name="connsiteX6" fmla="*/ 576775 w 858129"/>
                <a:gd name="connsiteY6" fmla="*/ 140677 h 499403"/>
                <a:gd name="connsiteX7" fmla="*/ 541606 w 858129"/>
                <a:gd name="connsiteY7" fmla="*/ 84407 h 499403"/>
                <a:gd name="connsiteX8" fmla="*/ 513470 w 858129"/>
                <a:gd name="connsiteY8" fmla="*/ 77373 h 499403"/>
                <a:gd name="connsiteX9" fmla="*/ 478301 w 858129"/>
                <a:gd name="connsiteY9" fmla="*/ 35170 h 499403"/>
                <a:gd name="connsiteX10" fmla="*/ 457200 w 858129"/>
                <a:gd name="connsiteY10" fmla="*/ 28136 h 499403"/>
                <a:gd name="connsiteX11" fmla="*/ 436098 w 858129"/>
                <a:gd name="connsiteY11" fmla="*/ 14068 h 499403"/>
                <a:gd name="connsiteX12" fmla="*/ 407963 w 858129"/>
                <a:gd name="connsiteY12" fmla="*/ 0 h 499403"/>
                <a:gd name="connsiteX13" fmla="*/ 302455 w 858129"/>
                <a:gd name="connsiteY13" fmla="*/ 7034 h 499403"/>
                <a:gd name="connsiteX14" fmla="*/ 232117 w 858129"/>
                <a:gd name="connsiteY14" fmla="*/ 35170 h 499403"/>
                <a:gd name="connsiteX15" fmla="*/ 211015 w 858129"/>
                <a:gd name="connsiteY15" fmla="*/ 42203 h 499403"/>
                <a:gd name="connsiteX16" fmla="*/ 154744 w 858129"/>
                <a:gd name="connsiteY16" fmla="*/ 70339 h 499403"/>
                <a:gd name="connsiteX17" fmla="*/ 112541 w 858129"/>
                <a:gd name="connsiteY17" fmla="*/ 98474 h 499403"/>
                <a:gd name="connsiteX18" fmla="*/ 91440 w 858129"/>
                <a:gd name="connsiteY18" fmla="*/ 105508 h 499403"/>
                <a:gd name="connsiteX19" fmla="*/ 56270 w 858129"/>
                <a:gd name="connsiteY19" fmla="*/ 140677 h 499403"/>
                <a:gd name="connsiteX20" fmla="*/ 35169 w 858129"/>
                <a:gd name="connsiteY20" fmla="*/ 161779 h 499403"/>
                <a:gd name="connsiteX21" fmla="*/ 21101 w 858129"/>
                <a:gd name="connsiteY21" fmla="*/ 182880 h 499403"/>
                <a:gd name="connsiteX22" fmla="*/ 0 w 858129"/>
                <a:gd name="connsiteY22" fmla="*/ 189914 h 499403"/>
                <a:gd name="connsiteX23" fmla="*/ 56270 w 858129"/>
                <a:gd name="connsiteY23" fmla="*/ 232117 h 499403"/>
                <a:gd name="connsiteX24" fmla="*/ 84406 w 858129"/>
                <a:gd name="connsiteY24" fmla="*/ 274320 h 499403"/>
                <a:gd name="connsiteX25" fmla="*/ 91440 w 858129"/>
                <a:gd name="connsiteY25" fmla="*/ 295422 h 499403"/>
                <a:gd name="connsiteX26" fmla="*/ 119575 w 858129"/>
                <a:gd name="connsiteY26" fmla="*/ 309490 h 499403"/>
                <a:gd name="connsiteX27" fmla="*/ 161778 w 858129"/>
                <a:gd name="connsiteY27" fmla="*/ 330591 h 499403"/>
                <a:gd name="connsiteX28" fmla="*/ 175846 w 858129"/>
                <a:gd name="connsiteY28" fmla="*/ 351693 h 499403"/>
                <a:gd name="connsiteX29" fmla="*/ 211015 w 858129"/>
                <a:gd name="connsiteY29" fmla="*/ 414997 h 499403"/>
                <a:gd name="connsiteX30" fmla="*/ 253218 w 858129"/>
                <a:gd name="connsiteY30" fmla="*/ 429065 h 499403"/>
                <a:gd name="connsiteX31" fmla="*/ 295421 w 858129"/>
                <a:gd name="connsiteY31" fmla="*/ 450167 h 499403"/>
                <a:gd name="connsiteX32" fmla="*/ 365760 w 858129"/>
                <a:gd name="connsiteY32" fmla="*/ 478302 h 499403"/>
                <a:gd name="connsiteX33" fmla="*/ 407963 w 858129"/>
                <a:gd name="connsiteY33" fmla="*/ 492370 h 499403"/>
                <a:gd name="connsiteX34" fmla="*/ 429064 w 858129"/>
                <a:gd name="connsiteY34" fmla="*/ 499403 h 499403"/>
                <a:gd name="connsiteX35" fmla="*/ 661181 w 858129"/>
                <a:gd name="connsiteY35" fmla="*/ 492370 h 499403"/>
                <a:gd name="connsiteX36" fmla="*/ 682283 w 858129"/>
                <a:gd name="connsiteY36" fmla="*/ 485336 h 499403"/>
                <a:gd name="connsiteX37" fmla="*/ 724486 w 858129"/>
                <a:gd name="connsiteY37" fmla="*/ 478302 h 499403"/>
                <a:gd name="connsiteX38" fmla="*/ 844061 w 858129"/>
                <a:gd name="connsiteY38" fmla="*/ 471268 h 499403"/>
                <a:gd name="connsiteX39" fmla="*/ 851095 w 858129"/>
                <a:gd name="connsiteY39" fmla="*/ 429065 h 499403"/>
                <a:gd name="connsiteX40" fmla="*/ 858129 w 858129"/>
                <a:gd name="connsiteY40" fmla="*/ 393896 h 499403"/>
                <a:gd name="connsiteX41" fmla="*/ 851095 w 858129"/>
                <a:gd name="connsiteY41" fmla="*/ 330591 h 499403"/>
                <a:gd name="connsiteX42" fmla="*/ 837027 w 858129"/>
                <a:gd name="connsiteY42" fmla="*/ 281354 h 499403"/>
                <a:gd name="connsiteX43" fmla="*/ 808892 w 858129"/>
                <a:gd name="connsiteY43" fmla="*/ 267287 h 499403"/>
                <a:gd name="connsiteX44" fmla="*/ 752621 w 858129"/>
                <a:gd name="connsiteY44" fmla="*/ 211016 h 499403"/>
                <a:gd name="connsiteX45" fmla="*/ 731520 w 858129"/>
                <a:gd name="connsiteY45" fmla="*/ 168813 h 499403"/>
                <a:gd name="connsiteX46" fmla="*/ 724486 w 858129"/>
                <a:gd name="connsiteY46" fmla="*/ 147711 h 499403"/>
                <a:gd name="connsiteX47" fmla="*/ 703384 w 858129"/>
                <a:gd name="connsiteY47" fmla="*/ 133643 h 499403"/>
                <a:gd name="connsiteX48" fmla="*/ 752621 w 858129"/>
                <a:gd name="connsiteY48" fmla="*/ 253219 h 499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858129" h="499403">
                  <a:moveTo>
                    <a:pt x="752621" y="253219"/>
                  </a:moveTo>
                  <a:lnTo>
                    <a:pt x="752621" y="253219"/>
                  </a:lnTo>
                  <a:cubicBezTo>
                    <a:pt x="740898" y="236807"/>
                    <a:pt x="734964" y="213989"/>
                    <a:pt x="717452" y="203982"/>
                  </a:cubicBezTo>
                  <a:cubicBezTo>
                    <a:pt x="699018" y="193448"/>
                    <a:pt x="675090" y="200439"/>
                    <a:pt x="654147" y="196948"/>
                  </a:cubicBezTo>
                  <a:cubicBezTo>
                    <a:pt x="646834" y="195729"/>
                    <a:pt x="640080" y="192259"/>
                    <a:pt x="633046" y="189914"/>
                  </a:cubicBezTo>
                  <a:cubicBezTo>
                    <a:pt x="628357" y="182880"/>
                    <a:pt x="625340" y="174380"/>
                    <a:pt x="618978" y="168813"/>
                  </a:cubicBezTo>
                  <a:cubicBezTo>
                    <a:pt x="606254" y="157679"/>
                    <a:pt x="576775" y="140677"/>
                    <a:pt x="576775" y="140677"/>
                  </a:cubicBezTo>
                  <a:cubicBezTo>
                    <a:pt x="565465" y="106748"/>
                    <a:pt x="571949" y="97411"/>
                    <a:pt x="541606" y="84407"/>
                  </a:cubicBezTo>
                  <a:cubicBezTo>
                    <a:pt x="532720" y="80599"/>
                    <a:pt x="522849" y="79718"/>
                    <a:pt x="513470" y="77373"/>
                  </a:cubicBezTo>
                  <a:cubicBezTo>
                    <a:pt x="503088" y="61800"/>
                    <a:pt x="494552" y="46004"/>
                    <a:pt x="478301" y="35170"/>
                  </a:cubicBezTo>
                  <a:cubicBezTo>
                    <a:pt x="472132" y="31057"/>
                    <a:pt x="463831" y="31452"/>
                    <a:pt x="457200" y="28136"/>
                  </a:cubicBezTo>
                  <a:cubicBezTo>
                    <a:pt x="449639" y="24355"/>
                    <a:pt x="443438" y="18262"/>
                    <a:pt x="436098" y="14068"/>
                  </a:cubicBezTo>
                  <a:cubicBezTo>
                    <a:pt x="426994" y="8866"/>
                    <a:pt x="417341" y="4689"/>
                    <a:pt x="407963" y="0"/>
                  </a:cubicBezTo>
                  <a:cubicBezTo>
                    <a:pt x="372794" y="2345"/>
                    <a:pt x="337348" y="2049"/>
                    <a:pt x="302455" y="7034"/>
                  </a:cubicBezTo>
                  <a:cubicBezTo>
                    <a:pt x="270431" y="11609"/>
                    <a:pt x="259284" y="23527"/>
                    <a:pt x="232117" y="35170"/>
                  </a:cubicBezTo>
                  <a:cubicBezTo>
                    <a:pt x="225302" y="38091"/>
                    <a:pt x="218049" y="39859"/>
                    <a:pt x="211015" y="42203"/>
                  </a:cubicBezTo>
                  <a:cubicBezTo>
                    <a:pt x="164019" y="89201"/>
                    <a:pt x="220630" y="40391"/>
                    <a:pt x="154744" y="70339"/>
                  </a:cubicBezTo>
                  <a:cubicBezTo>
                    <a:pt x="139352" y="77335"/>
                    <a:pt x="128580" y="93127"/>
                    <a:pt x="112541" y="98474"/>
                  </a:cubicBezTo>
                  <a:lnTo>
                    <a:pt x="91440" y="105508"/>
                  </a:lnTo>
                  <a:cubicBezTo>
                    <a:pt x="78785" y="143473"/>
                    <a:pt x="94298" y="113515"/>
                    <a:pt x="56270" y="140677"/>
                  </a:cubicBezTo>
                  <a:cubicBezTo>
                    <a:pt x="48175" y="146459"/>
                    <a:pt x="41537" y="154137"/>
                    <a:pt x="35169" y="161779"/>
                  </a:cubicBezTo>
                  <a:cubicBezTo>
                    <a:pt x="29757" y="168273"/>
                    <a:pt x="27702" y="177599"/>
                    <a:pt x="21101" y="182880"/>
                  </a:cubicBezTo>
                  <a:cubicBezTo>
                    <a:pt x="15311" y="187512"/>
                    <a:pt x="7034" y="187569"/>
                    <a:pt x="0" y="189914"/>
                  </a:cubicBezTo>
                  <a:cubicBezTo>
                    <a:pt x="17127" y="201332"/>
                    <a:pt x="43741" y="218196"/>
                    <a:pt x="56270" y="232117"/>
                  </a:cubicBezTo>
                  <a:cubicBezTo>
                    <a:pt x="67581" y="244684"/>
                    <a:pt x="84406" y="274320"/>
                    <a:pt x="84406" y="274320"/>
                  </a:cubicBezTo>
                  <a:cubicBezTo>
                    <a:pt x="86751" y="281354"/>
                    <a:pt x="86197" y="290179"/>
                    <a:pt x="91440" y="295422"/>
                  </a:cubicBezTo>
                  <a:cubicBezTo>
                    <a:pt x="98854" y="302836"/>
                    <a:pt x="110471" y="304288"/>
                    <a:pt x="119575" y="309490"/>
                  </a:cubicBezTo>
                  <a:cubicBezTo>
                    <a:pt x="157751" y="331305"/>
                    <a:pt x="123093" y="317695"/>
                    <a:pt x="161778" y="330591"/>
                  </a:cubicBezTo>
                  <a:cubicBezTo>
                    <a:pt x="166467" y="337625"/>
                    <a:pt x="172065" y="344132"/>
                    <a:pt x="175846" y="351693"/>
                  </a:cubicBezTo>
                  <a:cubicBezTo>
                    <a:pt x="185755" y="371511"/>
                    <a:pt x="184403" y="406126"/>
                    <a:pt x="211015" y="414997"/>
                  </a:cubicBezTo>
                  <a:cubicBezTo>
                    <a:pt x="225083" y="419686"/>
                    <a:pt x="240880" y="420840"/>
                    <a:pt x="253218" y="429065"/>
                  </a:cubicBezTo>
                  <a:cubicBezTo>
                    <a:pt x="280489" y="447246"/>
                    <a:pt x="266300" y="440460"/>
                    <a:pt x="295421" y="450167"/>
                  </a:cubicBezTo>
                  <a:cubicBezTo>
                    <a:pt x="321983" y="490008"/>
                    <a:pt x="296610" y="463484"/>
                    <a:pt x="365760" y="478302"/>
                  </a:cubicBezTo>
                  <a:cubicBezTo>
                    <a:pt x="380259" y="481409"/>
                    <a:pt x="393895" y="487681"/>
                    <a:pt x="407963" y="492370"/>
                  </a:cubicBezTo>
                  <a:lnTo>
                    <a:pt x="429064" y="499403"/>
                  </a:lnTo>
                  <a:cubicBezTo>
                    <a:pt x="506436" y="497059"/>
                    <a:pt x="583892" y="496664"/>
                    <a:pt x="661181" y="492370"/>
                  </a:cubicBezTo>
                  <a:cubicBezTo>
                    <a:pt x="668584" y="491959"/>
                    <a:pt x="675045" y="486944"/>
                    <a:pt x="682283" y="485336"/>
                  </a:cubicBezTo>
                  <a:cubicBezTo>
                    <a:pt x="696205" y="482242"/>
                    <a:pt x="710278" y="479538"/>
                    <a:pt x="724486" y="478302"/>
                  </a:cubicBezTo>
                  <a:cubicBezTo>
                    <a:pt x="764263" y="474843"/>
                    <a:pt x="804203" y="473613"/>
                    <a:pt x="844061" y="471268"/>
                  </a:cubicBezTo>
                  <a:cubicBezTo>
                    <a:pt x="846406" y="457200"/>
                    <a:pt x="848544" y="443097"/>
                    <a:pt x="851095" y="429065"/>
                  </a:cubicBezTo>
                  <a:cubicBezTo>
                    <a:pt x="853234" y="417303"/>
                    <a:pt x="858129" y="405851"/>
                    <a:pt x="858129" y="393896"/>
                  </a:cubicBezTo>
                  <a:cubicBezTo>
                    <a:pt x="858129" y="372664"/>
                    <a:pt x="854323" y="351576"/>
                    <a:pt x="851095" y="330591"/>
                  </a:cubicBezTo>
                  <a:cubicBezTo>
                    <a:pt x="851062" y="330375"/>
                    <a:pt x="840369" y="284696"/>
                    <a:pt x="837027" y="281354"/>
                  </a:cubicBezTo>
                  <a:cubicBezTo>
                    <a:pt x="829613" y="273940"/>
                    <a:pt x="818270" y="271976"/>
                    <a:pt x="808892" y="267287"/>
                  </a:cubicBezTo>
                  <a:cubicBezTo>
                    <a:pt x="774941" y="216358"/>
                    <a:pt x="795880" y="232644"/>
                    <a:pt x="752621" y="211016"/>
                  </a:cubicBezTo>
                  <a:cubicBezTo>
                    <a:pt x="734940" y="157974"/>
                    <a:pt x="758790" y="223355"/>
                    <a:pt x="731520" y="168813"/>
                  </a:cubicBezTo>
                  <a:cubicBezTo>
                    <a:pt x="728204" y="162181"/>
                    <a:pt x="729729" y="152954"/>
                    <a:pt x="724486" y="147711"/>
                  </a:cubicBezTo>
                  <a:cubicBezTo>
                    <a:pt x="701160" y="124385"/>
                    <a:pt x="703384" y="153009"/>
                    <a:pt x="703384" y="133643"/>
                  </a:cubicBezTo>
                  <a:lnTo>
                    <a:pt x="752621" y="2532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模型</a:t>
              </a:r>
              <a:endParaRPr lang="en-US" altLang="zh-CN" sz="16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  <a:p>
              <a:pPr algn="ctr"/>
              <a:r>
                <a:rPr lang="zh-CN" altLang="en-US" sz="16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学习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4320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Dyna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98636"/>
                <a:ext cx="8137922" cy="82792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lnSpcReduction="1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𝑀𝑜𝑑𝑒𝑙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): 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预测 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i="1" dirty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i="1" dirty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altLang="zh-CN" i="1" dirty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) 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的下一个状态和奖励 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步骤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5), (6)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去掉就是一时间步表格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𝑄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学习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98636"/>
                <a:ext cx="8137922" cy="827923"/>
              </a:xfrm>
              <a:prstGeom prst="rect">
                <a:avLst/>
              </a:prstGeom>
              <a:blipFill>
                <a:blip r:embed="rId5"/>
                <a:stretch>
                  <a:fillRect l="-449" t="-7353" b="-588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: 圆角 6">
                <a:extLst>
                  <a:ext uri="{FF2B5EF4-FFF2-40B4-BE49-F238E27FC236}">
                    <a16:creationId xmlns:a16="http://schemas.microsoft.com/office/drawing/2014/main" id="{7D4FD308-7C0A-4D5C-8C51-6A46743F6083}"/>
                  </a:ext>
                </a:extLst>
              </p:cNvPr>
              <p:cNvSpPr/>
              <p:nvPr/>
            </p:nvSpPr>
            <p:spPr>
              <a:xfrm>
                <a:off x="857991" y="2396495"/>
                <a:ext cx="7136316" cy="3746610"/>
              </a:xfrm>
              <a:prstGeom prst="roundRect">
                <a:avLst>
                  <a:gd name="adj" fmla="val 5023"/>
                </a:avLst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Aft>
                    <a:spcPts val="0"/>
                  </a:spcAft>
                </a:pPr>
                <a:r>
                  <a:rPr lang="zh-CN" altLang="en-US" sz="1600" dirty="0">
                    <a:solidFill>
                      <a:schemeClr val="tx1"/>
                    </a:solidFill>
                    <a:ea typeface="阿里巴巴普惠体 B" panose="00020600040101010101"/>
                  </a:rPr>
                  <a:t>算法</a:t>
                </a:r>
                <a:r>
                  <a:rPr lang="en-US" altLang="zh-CN" sz="1600" dirty="0">
                    <a:solidFill>
                      <a:schemeClr val="tx1"/>
                    </a:solidFill>
                    <a:ea typeface="阿里巴巴普惠体 B" panose="00020600040101010101"/>
                  </a:rPr>
                  <a:t>: </a:t>
                </a:r>
                <a:r>
                  <a:rPr lang="zh-CN" altLang="zh-CN" sz="1600" dirty="0">
                    <a:solidFill>
                      <a:schemeClr val="tx1"/>
                    </a:solidFill>
                    <a:ea typeface="阿里巴巴普惠体 B" panose="00020600040101010101"/>
                  </a:rPr>
                  <a:t>表格</a:t>
                </a:r>
                <a:r>
                  <a:rPr lang="en-US" altLang="zh-CN" sz="1600" dirty="0">
                    <a:solidFill>
                      <a:schemeClr val="tx1"/>
                    </a:solidFill>
                    <a:ea typeface="阿里巴巴普惠体 B" panose="00020600040101010101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600" b="1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B" panose="00020600040101010101"/>
                      </a:rPr>
                      <m:t>𝐃𝐲𝐧𝐚</m:t>
                    </m:r>
                    <m:r>
                      <a:rPr lang="en-US" altLang="zh-CN" sz="1600" b="1" i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B" panose="00020600040101010101"/>
                      </a:rPr>
                      <m:t>−</m:t>
                    </m:r>
                    <m:r>
                      <a:rPr lang="en-US" altLang="zh-CN" sz="1600" b="1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B" panose="00020600040101010101"/>
                      </a:rPr>
                      <m:t>𝐐</m:t>
                    </m:r>
                  </m:oMath>
                </a14:m>
                <a:endParaRPr lang="en-US" altLang="zh-CN" sz="1600" b="1" dirty="0">
                  <a:solidFill>
                    <a:schemeClr val="tx1"/>
                  </a:solidFill>
                  <a:ea typeface="阿里巴巴普惠体 B" panose="00020600040101010101"/>
                </a:endParaRPr>
              </a:p>
              <a:p>
                <a:pPr algn="just">
                  <a:spcAft>
                    <a:spcPts val="0"/>
                  </a:spcAft>
                </a:pPr>
                <a:r>
                  <a:rPr lang="zh-CN" altLang="en-US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所有的 </a:t>
                </a:r>
                <a14:m>
                  <m:oMath xmlns:m="http://schemas.openxmlformats.org/officeDocument/2006/math"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zh-CN" altLang="zh-CN" sz="1600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Times New Roman" panose="02020603050405020304" pitchFamily="18" charset="0"/>
                      </a:rPr>
                      <m:t>∈</m:t>
                    </m:r>
                    <m:r>
                      <a:rPr lang="en-US" altLang="zh-CN" sz="16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𝒮</m:t>
                    </m:r>
                  </m:oMath>
                </a14:m>
                <a:r>
                  <a:rPr lang="en-US" altLang="zh-CN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zh-CN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14:m>
                  <m:oMath xmlns:m="http://schemas.openxmlformats.org/officeDocument/2006/math">
                    <m:r>
                      <a:rPr lang="en-US" altLang="zh-CN" sz="1600" b="0" i="0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zh-CN" altLang="zh-CN" sz="1600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Times New Roman" panose="02020603050405020304" pitchFamily="18" charset="0"/>
                      </a:rPr>
                      <m:t>∈</m:t>
                    </m:r>
                    <m:r>
                      <a:rPr lang="en-US" altLang="zh-CN" sz="16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𝒜</m:t>
                    </m:r>
                    <m:d>
                      <m:dPr>
                        <m:ctrlPr>
                          <a:rPr lang="zh-CN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</m:d>
                    <m:r>
                      <a:rPr lang="zh-CN" altLang="en-US" sz="16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</m:oMath>
                </a14:m>
                <a:r>
                  <a:rPr lang="zh-CN" altLang="en-US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初始化值函数 </a:t>
                </a:r>
                <a14:m>
                  <m:oMath xmlns:m="http://schemas.openxmlformats.org/officeDocument/2006/math"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sz="16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  <m:r>
                          <a:rPr lang="en-US" altLang="zh-CN" sz="16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sz="16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</m:d>
                  </m:oMath>
                </a14:m>
                <a:r>
                  <a:rPr lang="zh-CN" altLang="en-US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和模型 </a:t>
                </a:r>
                <a14:m>
                  <m:oMath xmlns:m="http://schemas.openxmlformats.org/officeDocument/2006/math"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𝑀𝑜𝑑𝑒𝑙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sz="16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algn="just">
                  <a:spcAft>
                    <a:spcPts val="0"/>
                  </a:spcAft>
                </a:pPr>
                <a:r>
                  <a:rPr lang="zh-CN" altLang="zh-CN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重复以下步骤</a:t>
                </a:r>
                <a:r>
                  <a:rPr lang="en-US" altLang="zh-CN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:</a:t>
                </a:r>
                <a:endParaRPr lang="zh-CN" altLang="zh-CN" sz="16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en-US" sz="1600" kern="100" dirty="0">
                    <a:solidFill>
                      <a:schemeClr val="tx1"/>
                    </a:solidFill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 </a:t>
                </a:r>
                <a14:m>
                  <m:oMath xmlns:m="http://schemas.openxmlformats.org/officeDocument/2006/math">
                    <m:r>
                      <a:rPr lang="en-US" altLang="zh-CN" sz="16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←</m:t>
                    </m:r>
                    <m:r>
                      <a:rPr lang="zh-CN" altLang="en-US" sz="16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当前</m:t>
                    </m:r>
                  </m:oMath>
                </a14:m>
                <a:r>
                  <a:rPr lang="zh-CN" altLang="en-US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（非终止）状态</a:t>
                </a:r>
                <a:endParaRPr lang="en-US" altLang="zh-CN" sz="16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en-US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 </a:t>
                </a:r>
                <a14:m>
                  <m:oMath xmlns:m="http://schemas.openxmlformats.org/officeDocument/2006/math">
                    <m:r>
                      <a:rPr lang="en-US" altLang="zh-CN" sz="16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sz="16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sz="160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𝜖</m:t>
                    </m:r>
                  </m:oMath>
                </a14:m>
                <a:r>
                  <a:rPr lang="en-US" altLang="zh-CN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</a:t>
                </a:r>
                <a:r>
                  <a:rPr lang="en-US" altLang="zh-CN" sz="1600" i="1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greedy</a:t>
                </a:r>
                <a14:m>
                  <m:oMath xmlns:m="http://schemas.openxmlformats.org/officeDocument/2006/math"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zh-CN" altLang="zh-CN" sz="1600" i="1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en-US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做动作 </a:t>
                </a:r>
                <a14:m>
                  <m:oMath xmlns:m="http://schemas.openxmlformats.org/officeDocument/2006/math"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</m:oMath>
                </a14:m>
                <a:r>
                  <a:rPr lang="zh-CN" altLang="en-US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；得到奖励</a:t>
                </a:r>
                <a14:m>
                  <m:oMath xmlns:m="http://schemas.openxmlformats.org/officeDocument/2006/math">
                    <m:r>
                      <a:rPr lang="en-US" altLang="zh-CN" sz="1600" b="0" i="0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zh-CN" altLang="en-US" sz="16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和</m:t>
                    </m:r>
                  </m:oMath>
                </a14:m>
                <a:r>
                  <a:rPr lang="zh-CN" altLang="en-US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zh-CN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16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  <m:t> </m:t>
                        </m:r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  <m:sup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</m:sup>
                    </m:sSup>
                  </m:oMath>
                </a14:m>
                <a:endParaRPr lang="en-US" altLang="zh-CN" sz="16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en-US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 </a:t>
                </a:r>
                <a14:m>
                  <m:oMath xmlns:m="http://schemas.openxmlformats.org/officeDocument/2006/math">
                    <m:r>
                      <a:rPr lang="en-US" altLang="zh-CN" sz="16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zh-CN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</m:d>
                    <m:r>
                      <a:rPr lang="zh-CN" altLang="zh-CN" sz="1600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Times New Roman" panose="02020603050405020304" pitchFamily="18" charset="0"/>
                      </a:rPr>
                      <m:t>←</m:t>
                    </m:r>
                    <m:r>
                      <a:rPr lang="en-US" altLang="zh-CN" sz="16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zh-CN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</m:d>
                    <m:r>
                      <a:rPr lang="en-US" altLang="zh-CN" sz="16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sz="16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d>
                      <m:dPr>
                        <m:begChr m:val="["/>
                        <m:endChr m:val="]"/>
                        <m:ctrlPr>
                          <a:rPr lang="zh-CN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</m:t>
                        </m:r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𝛾</m:t>
                        </m:r>
                        <m:func>
                          <m:funcPr>
                            <m:ctrlPr>
                              <a:rPr lang="zh-CN" altLang="zh-CN" sz="16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funcPr>
                          <m:fName>
                            <m:limLow>
                              <m:limLowPr>
                                <m:ctrlPr>
                                  <a:rPr lang="zh-CN" altLang="zh-CN" sz="16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阿里巴巴普惠体 R" panose="00020600040101010101" pitchFamily="18" charset="-122"/>
                                  </a:rPr>
                                </m:ctrlPr>
                              </m:limLowPr>
                              <m:e>
                                <m:r>
                                  <m:rPr>
                                    <m:sty m:val="p"/>
                                  </m:rPr>
                                  <a:rPr lang="en-US" altLang="zh-CN" sz="1600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max</m:t>
                                </m:r>
                              </m:e>
                              <m:lim>
                                <m:r>
                                  <a:rPr lang="en-US" altLang="zh-CN" sz="16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𝑎</m:t>
                                </m:r>
                              </m:lim>
                            </m:limLow>
                          </m:fName>
                          <m:e>
                            <m:r>
                              <a:rPr lang="en-US" altLang="zh-CN" sz="16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𝑄</m:t>
                            </m:r>
                          </m:e>
                        </m:func>
                        <m:d>
                          <m:dPr>
                            <m:ctrlPr>
                              <a:rPr lang="zh-CN" altLang="zh-CN" sz="16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zh-CN" altLang="zh-CN" sz="16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sz="16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𝑆</m:t>
                                </m:r>
                              </m:e>
                              <m:sup>
                                <m:r>
                                  <a:rPr lang="en-US" altLang="zh-CN" sz="16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′</m:t>
                                </m:r>
                              </m:sup>
                            </m:sSup>
                            <m:r>
                              <a:rPr lang="en-US" altLang="zh-CN" sz="16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r>
                              <a:rPr lang="en-US" altLang="zh-CN" sz="16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</m:d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  <m:d>
                          <m:dPr>
                            <m:ctrlPr>
                              <a:rPr lang="zh-CN" altLang="zh-CN" sz="16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sz="16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𝑆</m:t>
                            </m:r>
                            <m:r>
                              <a:rPr lang="en-US" altLang="zh-CN" sz="16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r>
                              <a:rPr lang="en-US" altLang="zh-CN" sz="16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𝐴</m:t>
                            </m:r>
                          </m:e>
                        </m:d>
                      </m:e>
                    </m:d>
                  </m:oMath>
                </a14:m>
                <a:endParaRPr lang="en-US" altLang="zh-CN" sz="16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en-US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</a:t>
                </a:r>
                <a14:m>
                  <m:oMath xmlns:m="http://schemas.openxmlformats.org/officeDocument/2006/math"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𝑀𝑜𝑑𝑒𝑙</m:t>
                    </m:r>
                    <m:d>
                      <m:dPr>
                        <m:ctrlPr>
                          <a:rPr lang="en-US" altLang="zh-CN" sz="16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  <m:r>
                          <a:rPr lang="en-US" altLang="zh-CN" sz="16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sz="16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</m:d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 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</m:t>
                    </m:r>
                    <m:r>
                      <a:rPr lang="zh-CN" altLang="en-US" sz="16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（</m:t>
                    </m:r>
                    <m:r>
                      <a:rPr lang="zh-CN" altLang="en-US" sz="160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假设是</m:t>
                    </m:r>
                  </m:oMath>
                </a14:m>
                <a:r>
                  <a:rPr lang="zh-CN" altLang="en-US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确定性环境</a:t>
                </a:r>
                <a:r>
                  <a:rPr lang="en-US" altLang="zh-CN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  <a:endParaRPr lang="zh-CN" altLang="zh-CN" sz="16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en-US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重复以下步骤</a:t>
                </a:r>
                <a:r>
                  <a:rPr lang="en-US" altLang="zh-CN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n</a:t>
                </a:r>
                <a:r>
                  <a:rPr lang="zh-CN" altLang="en-US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次</a:t>
                </a:r>
                <a:r>
                  <a:rPr lang="en-US" altLang="zh-CN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:</a:t>
                </a:r>
              </a:p>
              <a:p>
                <a:pPr marL="1257300" lvl="2" indent="-342900" algn="just">
                  <a:buAutoNum type="alphaLcPeriod"/>
                </a:pPr>
                <a:r>
                  <a:rPr lang="zh-CN" altLang="en-US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</a:t>
                </a:r>
                <a14:m>
                  <m:oMath xmlns:m="http://schemas.openxmlformats.org/officeDocument/2006/math">
                    <m:r>
                      <a:rPr lang="en-US" altLang="zh-CN" sz="1600" b="0" i="0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←</m:t>
                    </m:r>
                  </m:oMath>
                </a14:m>
                <a:r>
                  <a:rPr lang="zh-CN" altLang="en-US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随机采样之前见过的状态</a:t>
                </a:r>
                <a:endParaRPr lang="en-US" altLang="zh-CN" sz="16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257300" lvl="2" indent="-342900" algn="just">
                  <a:buAutoNum type="alphaLcPeriod"/>
                </a:pPr>
                <a:r>
                  <a:rPr lang="zh-CN" altLang="en-US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</a:t>
                </a:r>
                <a14:m>
                  <m:oMath xmlns:m="http://schemas.openxmlformats.org/officeDocument/2006/math">
                    <m:r>
                      <a:rPr lang="en-US" altLang="zh-CN" sz="1600" b="0" i="0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←</m:t>
                    </m:r>
                  </m:oMath>
                </a14:m>
                <a:r>
                  <a:rPr lang="zh-CN" altLang="en-US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随机采样之前在状态</a:t>
                </a:r>
                <a14:m>
                  <m:oMath xmlns:m="http://schemas.openxmlformats.org/officeDocument/2006/math"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</m:oMath>
                </a14:m>
                <a:r>
                  <a:rPr lang="zh-CN" altLang="en-US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做过的动作</a:t>
                </a:r>
                <a:endParaRPr lang="en-US" altLang="zh-CN" sz="16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257300" lvl="2" indent="-342900" algn="just">
                  <a:buAutoNum type="alphaLcPeriod"/>
                </a:pPr>
                <a:r>
                  <a:rPr lang="zh-CN" altLang="en-US" sz="16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 </a:t>
                </a:r>
                <a14:m>
                  <m:oMath xmlns:m="http://schemas.openxmlformats.org/officeDocument/2006/math"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</m:oMath>
                </a14:m>
                <a:r>
                  <a:rPr lang="zh-CN" altLang="zh-CN" sz="1600" kern="100" dirty="0">
                    <a:solidFill>
                      <a:schemeClr val="tx1"/>
                    </a:solidFill>
                    <a:ea typeface="Cambria Math" panose="02040503050406030204" pitchFamily="18" charset="0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zh-CN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  <m:sup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</m:sup>
                    </m:sSup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← </m:t>
                    </m:r>
                    <m:r>
                      <a:rPr lang="en-US" altLang="zh-CN" sz="16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𝑀𝑜𝑑𝑒𝑙</m:t>
                    </m:r>
                    <m:d>
                      <m:dPr>
                        <m:ctrlPr>
                          <a:rPr lang="en-US" altLang="zh-CN" sz="16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  <m:r>
                          <a:rPr lang="en-US" altLang="zh-CN" sz="16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sz="16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</m:d>
                  </m:oMath>
                </a14:m>
                <a:endParaRPr lang="en-US" altLang="zh-CN" sz="1600" b="0" i="1" kern="100" dirty="0">
                  <a:solidFill>
                    <a:schemeClr val="tx1"/>
                  </a:solidFill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257300" lvl="2" indent="-342900" algn="just">
                  <a:buAutoNum type="alphaLcPeriod"/>
                </a:pPr>
                <a14:m>
                  <m:oMath xmlns:m="http://schemas.openxmlformats.org/officeDocument/2006/math">
                    <m:r>
                      <a:rPr lang="en-US" altLang="zh-CN" sz="16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zh-CN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</m:d>
                    <m:r>
                      <a:rPr lang="en-US" altLang="zh-CN" sz="1600" b="0" i="0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zh-CN" altLang="zh-CN" sz="1600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Times New Roman" panose="02020603050405020304" pitchFamily="18" charset="0"/>
                      </a:rPr>
                      <m:t>←</m:t>
                    </m:r>
                    <m:r>
                      <a:rPr lang="en-US" altLang="zh-CN" sz="1600" b="0" i="0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US" altLang="zh-CN" sz="16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zh-CN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</m:d>
                    <m:r>
                      <a:rPr lang="en-US" altLang="zh-CN" sz="16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sz="16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d>
                      <m:dPr>
                        <m:begChr m:val="["/>
                        <m:endChr m:val="]"/>
                        <m:ctrlPr>
                          <a:rPr lang="zh-CN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</m:t>
                        </m:r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𝛾</m:t>
                        </m:r>
                        <m:func>
                          <m:funcPr>
                            <m:ctrlPr>
                              <a:rPr lang="zh-CN" altLang="zh-CN" sz="16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funcPr>
                          <m:fName>
                            <m:limLow>
                              <m:limLowPr>
                                <m:ctrlPr>
                                  <a:rPr lang="zh-CN" altLang="zh-CN" sz="16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阿里巴巴普惠体 R" panose="00020600040101010101" pitchFamily="18" charset="-122"/>
                                  </a:rPr>
                                </m:ctrlPr>
                              </m:limLowPr>
                              <m:e>
                                <m:r>
                                  <m:rPr>
                                    <m:sty m:val="p"/>
                                  </m:rPr>
                                  <a:rPr lang="en-US" altLang="zh-CN" sz="1600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max</m:t>
                                </m:r>
                              </m:e>
                              <m:lim>
                                <m:r>
                                  <a:rPr lang="en-US" altLang="zh-CN" sz="16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𝑎</m:t>
                                </m:r>
                              </m:lim>
                            </m:limLow>
                          </m:fName>
                          <m:e>
                            <m:r>
                              <a:rPr lang="en-US" altLang="zh-CN" sz="16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𝑄</m:t>
                            </m:r>
                          </m:e>
                        </m:func>
                        <m:d>
                          <m:dPr>
                            <m:ctrlPr>
                              <a:rPr lang="zh-CN" altLang="zh-CN" sz="16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zh-CN" altLang="zh-CN" sz="16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sz="16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𝑆</m:t>
                                </m:r>
                              </m:e>
                              <m:sup>
                                <m:r>
                                  <a:rPr lang="en-US" altLang="zh-CN" sz="16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′</m:t>
                                </m:r>
                              </m:sup>
                            </m:sSup>
                            <m:r>
                              <a:rPr lang="en-US" altLang="zh-CN" sz="16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r>
                              <a:rPr lang="en-US" altLang="zh-CN" sz="16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</m:d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sz="16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  <m:d>
                          <m:dPr>
                            <m:ctrlPr>
                              <a:rPr lang="zh-CN" altLang="zh-CN" sz="16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sz="16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𝑆</m:t>
                            </m:r>
                            <m:r>
                              <a:rPr lang="en-US" altLang="zh-CN" sz="16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r>
                              <a:rPr lang="en-US" altLang="zh-CN" sz="16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𝐴</m:t>
                            </m:r>
                          </m:e>
                        </m:d>
                      </m:e>
                    </m:d>
                  </m:oMath>
                </a14:m>
                <a:endParaRPr lang="en-US" altLang="zh-CN" sz="16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7" name="矩形: 圆角 6">
                <a:extLst>
                  <a:ext uri="{FF2B5EF4-FFF2-40B4-BE49-F238E27FC236}">
                    <a16:creationId xmlns:a16="http://schemas.microsoft.com/office/drawing/2014/main" id="{7D4FD308-7C0A-4D5C-8C51-6A46743F608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7991" y="2396495"/>
                <a:ext cx="7136316" cy="3746610"/>
              </a:xfrm>
              <a:prstGeom prst="roundRect">
                <a:avLst>
                  <a:gd name="adj" fmla="val 5023"/>
                </a:avLst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图片 2">
            <a:extLst>
              <a:ext uri="{FF2B5EF4-FFF2-40B4-BE49-F238E27FC236}">
                <a16:creationId xmlns:a16="http://schemas.microsoft.com/office/drawing/2014/main" id="{BB19E2E1-E4CB-4D63-A679-4E6EE009AD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19146" y="215900"/>
            <a:ext cx="2300514" cy="193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217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C99974E6-A4D5-455A-96D6-2997ACEABC1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391"/>
          <a:stretch/>
        </p:blipFill>
        <p:spPr>
          <a:xfrm>
            <a:off x="4258443" y="2006592"/>
            <a:ext cx="4669657" cy="3755579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Dyna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 dirty="0"/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BA8BB5BE-7181-BE46-AD89-DA62294A69F2}"/>
              </a:ext>
            </a:extLst>
          </p:cNvPr>
          <p:cNvSpPr txBox="1">
            <a:spLocks/>
          </p:cNvSpPr>
          <p:nvPr/>
        </p:nvSpPr>
        <p:spPr>
          <a:xfrm>
            <a:off x="502444" y="1374739"/>
            <a:ext cx="1886795" cy="48503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举例 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1: 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迷宫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938727"/>
                <a:ext cx="8137922" cy="412286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环境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4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个动作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上下左右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碰到障碍物和边界静止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到达目标（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𝐺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，得到奖励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+1</a:t>
                </a: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折扣因子 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0.95</a:t>
                </a: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结果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横轴代表游戏轮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纵轴代表到达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𝐺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花的时间步长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不同曲线代表采用不同的规划步长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规划步长越长，表现收敛越快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938727"/>
                <a:ext cx="8137922" cy="4122860"/>
              </a:xfrm>
              <a:prstGeom prst="rect">
                <a:avLst/>
              </a:prstGeom>
              <a:blipFill>
                <a:blip r:embed="rId6"/>
                <a:stretch>
                  <a:fillRect l="-449" t="-74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9322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Dyna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 dirty="0"/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BA8BB5BE-7181-BE46-AD89-DA62294A69F2}"/>
              </a:ext>
            </a:extLst>
          </p:cNvPr>
          <p:cNvSpPr txBox="1">
            <a:spLocks/>
          </p:cNvSpPr>
          <p:nvPr/>
        </p:nvSpPr>
        <p:spPr>
          <a:xfrm>
            <a:off x="502444" y="1374739"/>
            <a:ext cx="1700429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为什么更快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067C8C9B-6D52-46E9-BA14-684CBFDEFF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5393" y="2555043"/>
            <a:ext cx="7053214" cy="2569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215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Dyna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 dirty="0"/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BA8BB5BE-7181-BE46-AD89-DA62294A69F2}"/>
              </a:ext>
            </a:extLst>
          </p:cNvPr>
          <p:cNvSpPr txBox="1">
            <a:spLocks/>
          </p:cNvSpPr>
          <p:nvPr/>
        </p:nvSpPr>
        <p:spPr>
          <a:xfrm>
            <a:off x="502444" y="1374739"/>
            <a:ext cx="2402534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模型不准了怎么办</a:t>
            </a:r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22E8ECEC-6231-40C3-B22C-F780871D8B63}"/>
              </a:ext>
            </a:extLst>
          </p:cNvPr>
          <p:cNvSpPr txBox="1">
            <a:spLocks/>
          </p:cNvSpPr>
          <p:nvPr/>
        </p:nvSpPr>
        <p:spPr>
          <a:xfrm>
            <a:off x="502442" y="1938727"/>
            <a:ext cx="8137922" cy="41228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环境是随机的，并且只观察到了有限的样本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模型使用了泛化性不好的函数估计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环境改变了，并且还没有被算法检测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79669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5896513F-2D25-45B6-822B-59B2CF40E1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8509" y="1778591"/>
            <a:ext cx="5433888" cy="3839118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Dyna</a:t>
            </a:r>
            <a:endParaRPr lang="zh-CN" alt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 dirty="0"/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BA8BB5BE-7181-BE46-AD89-DA62294A69F2}"/>
              </a:ext>
            </a:extLst>
          </p:cNvPr>
          <p:cNvSpPr txBox="1">
            <a:spLocks/>
          </p:cNvSpPr>
          <p:nvPr/>
        </p:nvSpPr>
        <p:spPr>
          <a:xfrm>
            <a:off x="502444" y="1374741"/>
            <a:ext cx="2527083" cy="435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举例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1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：阻碍迷宫</a:t>
            </a:r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938729"/>
            <a:ext cx="8137922" cy="3263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环境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:</a:t>
            </a:r>
          </a:p>
          <a:p>
            <a:pPr lvl="1"/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000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步障碍向右移动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结果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: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横轴代表时间步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纵轴代表累计的收益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yna-Q+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加了探索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4" name="文本占位符 3">
            <a:extLst>
              <a:ext uri="{FF2B5EF4-FFF2-40B4-BE49-F238E27FC236}">
                <a16:creationId xmlns:a16="http://schemas.microsoft.com/office/drawing/2014/main" id="{119BA6DC-75DE-49BC-B8AB-4F2BEC7ED98F}"/>
              </a:ext>
            </a:extLst>
          </p:cNvPr>
          <p:cNvSpPr txBox="1">
            <a:spLocks/>
          </p:cNvSpPr>
          <p:nvPr/>
        </p:nvSpPr>
        <p:spPr>
          <a:xfrm>
            <a:off x="490503" y="4493692"/>
            <a:ext cx="1574272" cy="43664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Dyna-Q+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67E9FD7C-EE73-46EB-8FBF-ED408FD2CB2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5049661"/>
                <a:ext cx="4383743" cy="137927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lnSpcReduction="1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奖励更改为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𝑟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𝒦</m:t>
                    </m:r>
                    <m:rad>
                      <m:radPr>
                        <m:degHide m:val="on"/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radPr>
                      <m:deg/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𝜏</m:t>
                        </m:r>
                      </m:e>
                    </m:rad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𝑟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:</m:t>
                    </m:r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原来的奖励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𝒦</m:t>
                    </m:r>
                    <m:r>
                      <a:rPr lang="en-US" altLang="zh-CN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:</m:t>
                    </m:r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小的权重参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𝜏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:</m:t>
                    </m:r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某个</a:t>
                </a:r>
                <a:r>
                  <a:rPr lang="zh-CN" altLang="en-US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多久未到达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过了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67E9FD7C-EE73-46EB-8FBF-ED408FD2CB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5049661"/>
                <a:ext cx="4383743" cy="1379273"/>
              </a:xfrm>
              <a:prstGeom prst="rect">
                <a:avLst/>
              </a:prstGeom>
              <a:blipFill>
                <a:blip r:embed="rId6"/>
                <a:stretch>
                  <a:fillRect l="-833" t="-3965" b="-132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15409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>
            <a:extLst>
              <a:ext uri="{FF2B5EF4-FFF2-40B4-BE49-F238E27FC236}">
                <a16:creationId xmlns:a16="http://schemas.microsoft.com/office/drawing/2014/main" id="{AC1AB5A6-2337-460D-9E9C-42B2229066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30959" y="2037138"/>
            <a:ext cx="5283915" cy="4300162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Dyna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 dirty="0"/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BA8BB5BE-7181-BE46-AD89-DA62294A69F2}"/>
              </a:ext>
            </a:extLst>
          </p:cNvPr>
          <p:cNvSpPr txBox="1">
            <a:spLocks/>
          </p:cNvSpPr>
          <p:nvPr/>
        </p:nvSpPr>
        <p:spPr>
          <a:xfrm>
            <a:off x="502444" y="1374740"/>
            <a:ext cx="2517847" cy="42503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举例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2: 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捷径迷宫</a:t>
            </a:r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938728"/>
            <a:ext cx="8137922" cy="30838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环境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:</a:t>
            </a:r>
          </a:p>
          <a:p>
            <a:pPr lvl="1"/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3000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步出现捷径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结果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:</a:t>
            </a:r>
          </a:p>
          <a:p>
            <a:pPr lvl="1"/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yna-Q+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能够发现捷径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93287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规划与学习</a:t>
            </a:r>
            <a:r>
              <a:rPr lang="en-US" altLang="zh-CN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: </a:t>
            </a:r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采样方法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BED3DF7-FB71-425D-AFE0-12D254584D68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讲师：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AF19614-4FCA-4B68-A235-E21E673742C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50274" y="982391"/>
            <a:ext cx="3043451" cy="2561686"/>
          </a:xfrm>
          <a:prstGeom prst="rect">
            <a:avLst/>
          </a:prstGeom>
        </p:spPr>
      </p:pic>
      <p:sp>
        <p:nvSpPr>
          <p:cNvPr id="5" name="椭圆 4">
            <a:extLst>
              <a:ext uri="{FF2B5EF4-FFF2-40B4-BE49-F238E27FC236}">
                <a16:creationId xmlns:a16="http://schemas.microsoft.com/office/drawing/2014/main" id="{147B1FAD-1E50-453A-BDDB-9F0EBD66CFC8}"/>
              </a:ext>
            </a:extLst>
          </p:cNvPr>
          <p:cNvSpPr/>
          <p:nvPr/>
        </p:nvSpPr>
        <p:spPr>
          <a:xfrm>
            <a:off x="2975211" y="1574040"/>
            <a:ext cx="491319" cy="4913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7560280F-DC47-4760-8378-386C9582686E}"/>
              </a:ext>
            </a:extLst>
          </p:cNvPr>
          <p:cNvGrpSpPr/>
          <p:nvPr/>
        </p:nvGrpSpPr>
        <p:grpSpPr>
          <a:xfrm>
            <a:off x="1445172" y="220687"/>
            <a:ext cx="6252461" cy="705019"/>
            <a:chOff x="1252024" y="2626710"/>
            <a:chExt cx="6252461" cy="705019"/>
          </a:xfrm>
        </p:grpSpPr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E1E156EA-7975-4A1A-A05E-7FA671BD6CC1}"/>
                </a:ext>
              </a:extLst>
            </p:cNvPr>
            <p:cNvSpPr txBox="1"/>
            <p:nvPr/>
          </p:nvSpPr>
          <p:spPr>
            <a:xfrm>
              <a:off x="1252024" y="2827867"/>
              <a:ext cx="6471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模型</a:t>
              </a:r>
            </a:p>
          </p:txBody>
        </p:sp>
        <p:cxnSp>
          <p:nvCxnSpPr>
            <p:cNvPr id="11" name="直接箭头连接符 10">
              <a:extLst>
                <a:ext uri="{FF2B5EF4-FFF2-40B4-BE49-F238E27FC236}">
                  <a16:creationId xmlns:a16="http://schemas.microsoft.com/office/drawing/2014/main" id="{BEA8423C-FE2E-4844-8A10-125661BCA74C}"/>
                </a:ext>
              </a:extLst>
            </p:cNvPr>
            <p:cNvCxnSpPr>
              <a:cxnSpLocks/>
              <a:stCxn id="10" idx="3"/>
              <a:endCxn id="12" idx="1"/>
            </p:cNvCxnSpPr>
            <p:nvPr/>
          </p:nvCxnSpPr>
          <p:spPr>
            <a:xfrm flipV="1">
              <a:off x="1899138" y="3008564"/>
              <a:ext cx="1046536" cy="3969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65CD8EE9-F784-4A3A-9035-5B3BE334D8DF}"/>
                </a:ext>
              </a:extLst>
            </p:cNvPr>
            <p:cNvSpPr txBox="1"/>
            <p:nvPr/>
          </p:nvSpPr>
          <p:spPr>
            <a:xfrm>
              <a:off x="2945674" y="2685398"/>
              <a:ext cx="64711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模拟经验</a:t>
              </a:r>
            </a:p>
          </p:txBody>
        </p:sp>
        <p:cxnSp>
          <p:nvCxnSpPr>
            <p:cNvPr id="13" name="直接箭头连接符 12">
              <a:extLst>
                <a:ext uri="{FF2B5EF4-FFF2-40B4-BE49-F238E27FC236}">
                  <a16:creationId xmlns:a16="http://schemas.microsoft.com/office/drawing/2014/main" id="{0D93F9EF-E927-4EE8-B85A-051853D9265E}"/>
                </a:ext>
              </a:extLst>
            </p:cNvPr>
            <p:cNvCxnSpPr>
              <a:cxnSpLocks/>
            </p:cNvCxnSpPr>
            <p:nvPr/>
          </p:nvCxnSpPr>
          <p:spPr>
            <a:xfrm>
              <a:off x="3592788" y="3012533"/>
              <a:ext cx="1046536" cy="132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68C6F605-F349-4CE7-A0EB-2A0704AA98B6}"/>
                </a:ext>
              </a:extLst>
            </p:cNvPr>
            <p:cNvSpPr txBox="1"/>
            <p:nvPr/>
          </p:nvSpPr>
          <p:spPr>
            <a:xfrm>
              <a:off x="4639324" y="2821962"/>
              <a:ext cx="10465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值函数</a:t>
              </a: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BE219228-B876-4094-BFAB-8DE4B0549E10}"/>
                </a:ext>
              </a:extLst>
            </p:cNvPr>
            <p:cNvSpPr txBox="1"/>
            <p:nvPr/>
          </p:nvSpPr>
          <p:spPr>
            <a:xfrm>
              <a:off x="3792499" y="2626710"/>
              <a:ext cx="6471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回溯</a:t>
              </a:r>
            </a:p>
          </p:txBody>
        </p:sp>
        <p:cxnSp>
          <p:nvCxnSpPr>
            <p:cNvPr id="17" name="直接箭头连接符 16">
              <a:extLst>
                <a:ext uri="{FF2B5EF4-FFF2-40B4-BE49-F238E27FC236}">
                  <a16:creationId xmlns:a16="http://schemas.microsoft.com/office/drawing/2014/main" id="{059B6E88-44BC-4D82-AD35-368B5703AE4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11413" y="2994057"/>
              <a:ext cx="1046536" cy="3969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460CB0E8-E4EB-4C4E-AA72-8CC765C484C5}"/>
                </a:ext>
              </a:extLst>
            </p:cNvPr>
            <p:cNvSpPr txBox="1"/>
            <p:nvPr/>
          </p:nvSpPr>
          <p:spPr>
            <a:xfrm>
              <a:off x="6457949" y="2816311"/>
              <a:ext cx="10465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策略</a:t>
              </a: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046C1908-4D15-4AE5-9E98-65C671ECEAF1}"/>
                </a:ext>
              </a:extLst>
            </p:cNvPr>
            <p:cNvSpPr txBox="1"/>
            <p:nvPr/>
          </p:nvSpPr>
          <p:spPr>
            <a:xfrm>
              <a:off x="2098849" y="2626710"/>
              <a:ext cx="6471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采样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19077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8F67730D-4859-4E30-8F81-BB10FF47C8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sp>
        <p:nvSpPr>
          <p:cNvPr id="14" name="标题 13">
            <a:extLst>
              <a:ext uri="{FF2B5EF4-FFF2-40B4-BE49-F238E27FC236}">
                <a16:creationId xmlns:a16="http://schemas.microsoft.com/office/drawing/2014/main" id="{990F629C-C61E-4E63-96D5-2987C1721DB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03238" y="1516879"/>
            <a:ext cx="8137525" cy="16476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b="0" i="0" dirty="0">
                <a:effectLst/>
                <a:latin typeface="tahoma" panose="020B0604030504040204" pitchFamily="34" charset="0"/>
              </a:rPr>
              <a:t>“思想总是走在行动的前面，就好像闪电总是走在雷鸣之前。”</a:t>
            </a:r>
            <a:br>
              <a:rPr lang="en-US" altLang="zh-CN" b="0" i="0" dirty="0">
                <a:effectLst/>
                <a:latin typeface="tahoma" panose="020B0604030504040204" pitchFamily="34" charset="0"/>
              </a:rPr>
            </a:br>
            <a:br>
              <a:rPr lang="en-US" altLang="zh-CN" b="0" i="0" dirty="0">
                <a:effectLst/>
                <a:latin typeface="tahoma" panose="020B0604030504040204" pitchFamily="34" charset="0"/>
              </a:rPr>
            </a:br>
            <a:r>
              <a:rPr lang="zh-CN" altLang="en-US" b="0" i="0" dirty="0">
                <a:effectLst/>
                <a:latin typeface="tahoma" panose="020B0604030504040204" pitchFamily="34" charset="0"/>
              </a:rPr>
              <a:t>德国诗人海涅</a:t>
            </a:r>
            <a:endParaRPr lang="zh-CN" altLang="en-US" dirty="0"/>
          </a:p>
        </p:txBody>
      </p:sp>
      <p:pic>
        <p:nvPicPr>
          <p:cNvPr id="7170" name="Picture 2" descr="海因里希·海涅- 维基百科，自由的百科全书">
            <a:extLst>
              <a:ext uri="{FF2B5EF4-FFF2-40B4-BE49-F238E27FC236}">
                <a16:creationId xmlns:a16="http://schemas.microsoft.com/office/drawing/2014/main" id="{C1FB28E5-5373-40CA-B909-30E7849B42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7307" y="3345786"/>
            <a:ext cx="185737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2EF29A6E-10DB-3462-7CF9-6DD2DB118888}"/>
              </a:ext>
            </a:extLst>
          </p:cNvPr>
          <p:cNvSpPr/>
          <p:nvPr/>
        </p:nvSpPr>
        <p:spPr>
          <a:xfrm>
            <a:off x="449943" y="6357035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sz="1000" dirty="0">
                <a:solidFill>
                  <a:srgbClr val="00B0F0"/>
                </a:solidFill>
              </a:rPr>
              <a:t>摘自俞凯</a:t>
            </a:r>
            <a:r>
              <a:rPr lang="en-US" altLang="zh-CN" sz="1000" dirty="0">
                <a:solidFill>
                  <a:srgbClr val="00B0F0"/>
                </a:solidFill>
              </a:rPr>
              <a:t>[</a:t>
            </a:r>
            <a:r>
              <a:rPr lang="zh-CN" altLang="en-US" sz="1000" dirty="0">
                <a:solidFill>
                  <a:srgbClr val="00B0F0"/>
                </a:solidFill>
              </a:rPr>
              <a:t>译</a:t>
            </a:r>
            <a:r>
              <a:rPr lang="en-US" altLang="zh-CN" sz="1000" dirty="0">
                <a:solidFill>
                  <a:srgbClr val="00B0F0"/>
                </a:solidFill>
              </a:rPr>
              <a:t>]《</a:t>
            </a:r>
            <a:r>
              <a:rPr lang="zh-CN" altLang="en-US" sz="1000" dirty="0">
                <a:solidFill>
                  <a:srgbClr val="00B0F0"/>
                </a:solidFill>
              </a:rPr>
              <a:t>强化学习</a:t>
            </a:r>
            <a:r>
              <a:rPr lang="en-US" altLang="zh-CN" sz="1000" dirty="0">
                <a:solidFill>
                  <a:srgbClr val="00B0F0"/>
                </a:solidFill>
              </a:rPr>
              <a:t>》</a:t>
            </a:r>
            <a:r>
              <a:rPr lang="zh-CN" altLang="en-US" sz="1000" dirty="0">
                <a:solidFill>
                  <a:srgbClr val="00B0F0"/>
                </a:solidFill>
              </a:rPr>
              <a:t>译者序</a:t>
            </a:r>
          </a:p>
        </p:txBody>
      </p:sp>
      <p:sp>
        <p:nvSpPr>
          <p:cNvPr id="8" name="标题 1">
            <a:extLst>
              <a:ext uri="{FF2B5EF4-FFF2-40B4-BE49-F238E27FC236}">
                <a16:creationId xmlns:a16="http://schemas.microsoft.com/office/drawing/2014/main" id="{0AB7A274-7C4E-CEC3-02DF-C753887F66E8}"/>
              </a:ext>
            </a:extLst>
          </p:cNvPr>
          <p:cNvSpPr txBox="1">
            <a:spLocks/>
          </p:cNvSpPr>
          <p:nvPr/>
        </p:nvSpPr>
        <p:spPr>
          <a:xfrm>
            <a:off x="681738" y="535405"/>
            <a:ext cx="8137922" cy="4932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先规划后执行的思维方式</a:t>
            </a:r>
          </a:p>
        </p:txBody>
      </p:sp>
    </p:spTree>
    <p:extLst>
      <p:ext uri="{BB962C8B-B14F-4D97-AF65-F5344CB8AC3E}">
        <p14:creationId xmlns:p14="http://schemas.microsoft.com/office/powerpoint/2010/main" val="2997799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4480C692-B31A-0344-BFAA-BF8D473C02A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 dirty="0"/>
          </a:p>
        </p:txBody>
      </p:sp>
      <p:sp>
        <p:nvSpPr>
          <p:cNvPr id="11" name="文本占位符 1">
            <a:extLst>
              <a:ext uri="{FF2B5EF4-FFF2-40B4-BE49-F238E27FC236}">
                <a16:creationId xmlns:a16="http://schemas.microsoft.com/office/drawing/2014/main" id="{3296A87F-F951-AE48-9C79-1BD310D192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99300" y="2458950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zh-CN" altLang="en-US" dirty="0"/>
              <a:t>优先级采样</a:t>
            </a:r>
          </a:p>
        </p:txBody>
      </p:sp>
      <p:sp>
        <p:nvSpPr>
          <p:cNvPr id="12" name="文本占位符 2">
            <a:extLst>
              <a:ext uri="{FF2B5EF4-FFF2-40B4-BE49-F238E27FC236}">
                <a16:creationId xmlns:a16="http://schemas.microsoft.com/office/drawing/2014/main" id="{5724F0BF-53A1-8C4C-AD42-0E17F053D77A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428196" y="2424660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  <p:sp>
        <p:nvSpPr>
          <p:cNvPr id="13" name="文本占位符 3">
            <a:extLst>
              <a:ext uri="{FF2B5EF4-FFF2-40B4-BE49-F238E27FC236}">
                <a16:creationId xmlns:a16="http://schemas.microsoft.com/office/drawing/2014/main" id="{6CFF8168-52EA-4041-999C-A03781529AD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199300" y="3237651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zh-CN" altLang="en-US" dirty="0"/>
              <a:t>期望更新和采样更新</a:t>
            </a:r>
          </a:p>
        </p:txBody>
      </p:sp>
      <p:sp>
        <p:nvSpPr>
          <p:cNvPr id="14" name="文本占位符 4">
            <a:extLst>
              <a:ext uri="{FF2B5EF4-FFF2-40B4-BE49-F238E27FC236}">
                <a16:creationId xmlns:a16="http://schemas.microsoft.com/office/drawing/2014/main" id="{3A06AF6E-4CC5-1448-8068-D29DC14654C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428196" y="3203361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  <p:sp>
        <p:nvSpPr>
          <p:cNvPr id="15" name="文本占位符 5">
            <a:extLst>
              <a:ext uri="{FF2B5EF4-FFF2-40B4-BE49-F238E27FC236}">
                <a16:creationId xmlns:a16="http://schemas.microsoft.com/office/drawing/2014/main" id="{4CCFA1BF-34CB-604A-B62B-AB839F515540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199300" y="4016352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zh-CN" altLang="en-US" dirty="0"/>
              <a:t>轨迹采样</a:t>
            </a:r>
          </a:p>
        </p:txBody>
      </p:sp>
      <p:sp>
        <p:nvSpPr>
          <p:cNvPr id="16" name="文本占位符 6">
            <a:extLst>
              <a:ext uri="{FF2B5EF4-FFF2-40B4-BE49-F238E27FC236}">
                <a16:creationId xmlns:a16="http://schemas.microsoft.com/office/drawing/2014/main" id="{B5892E99-D5CB-BA43-A1FD-4A7C92535127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428196" y="3982062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3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22767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kumimoji="1" lang="zh-CN" altLang="en-US" dirty="0"/>
              <a:t>优先级采样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41817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常用的采样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 dirty="0"/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3" y="1497825"/>
            <a:ext cx="8137922" cy="11210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均匀随机采样</a:t>
            </a:r>
            <a:endParaRPr lang="en-US" altLang="zh-CN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模拟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的经验和更新应集中在一些特殊的状态动作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07A42EF-B5DD-4387-8201-26A192B701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7213" y="3962669"/>
            <a:ext cx="4012560" cy="2600734"/>
          </a:xfrm>
          <a:prstGeom prst="rect">
            <a:avLst/>
          </a:prstGeom>
        </p:spPr>
      </p:pic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C9DA7BF7-5A22-4C98-8E91-9B9B61A47AE6}"/>
              </a:ext>
            </a:extLst>
          </p:cNvPr>
          <p:cNvCxnSpPr/>
          <p:nvPr/>
        </p:nvCxnSpPr>
        <p:spPr>
          <a:xfrm flipH="1">
            <a:off x="5802923" y="4452425"/>
            <a:ext cx="829994" cy="12660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直接箭头连接符 13">
            <a:extLst>
              <a:ext uri="{FF2B5EF4-FFF2-40B4-BE49-F238E27FC236}">
                <a16:creationId xmlns:a16="http://schemas.microsoft.com/office/drawing/2014/main" id="{4C20A4AD-91DC-47D6-BBB3-9DC70F4A02FA}"/>
              </a:ext>
            </a:extLst>
          </p:cNvPr>
          <p:cNvCxnSpPr>
            <a:cxnSpLocks/>
          </p:cNvCxnSpPr>
          <p:nvPr/>
        </p:nvCxnSpPr>
        <p:spPr>
          <a:xfrm>
            <a:off x="3450919" y="3516589"/>
            <a:ext cx="317873" cy="69662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AB2A992D-4A22-4812-959B-B66154ACB0F4}"/>
                  </a:ext>
                </a:extLst>
              </p:cNvPr>
              <p:cNvSpPr txBox="1"/>
              <p:nvPr/>
            </p:nvSpPr>
            <p:spPr>
              <a:xfrm>
                <a:off x="2768358" y="3185631"/>
                <a:ext cx="2650269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useless(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0←0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∗0)</m:t>
                    </m:r>
                  </m:oMath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AB2A992D-4A22-4812-959B-B66154ACB0F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68358" y="3185631"/>
                <a:ext cx="2650269" cy="369332"/>
              </a:xfrm>
              <a:prstGeom prst="rect">
                <a:avLst/>
              </a:prstGeom>
              <a:blipFill>
                <a:blip r:embed="rId7"/>
                <a:stretch>
                  <a:fillRect l="-1839" t="-8333" b="-28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A573C72A-7E0D-45BB-BFCC-2F2EF97EFE89}"/>
                  </a:ext>
                </a:extLst>
              </p:cNvPr>
              <p:cNvSpPr txBox="1"/>
              <p:nvPr/>
            </p:nvSpPr>
            <p:spPr>
              <a:xfrm>
                <a:off x="6632917" y="4267759"/>
                <a:ext cx="244777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useful(1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1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∗0</m:t>
                    </m:r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A573C72A-7E0D-45BB-BFCC-2F2EF97EFE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32917" y="4267759"/>
                <a:ext cx="2447778" cy="369332"/>
              </a:xfrm>
              <a:prstGeom prst="rect">
                <a:avLst/>
              </a:prstGeom>
              <a:blipFill>
                <a:blip r:embed="rId8"/>
                <a:stretch>
                  <a:fillRect l="-1990" t="-6557" b="-2623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3461856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更好的采样方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3</a:t>
            </a:fld>
            <a:endParaRPr lang="zh-CN" altLang="en-US" dirty="0"/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938728"/>
            <a:ext cx="8137922" cy="8279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06B587DD-06F0-453A-9DE4-48AB9495C180}"/>
              </a:ext>
            </a:extLst>
          </p:cNvPr>
          <p:cNvSpPr txBox="1">
            <a:spLocks/>
          </p:cNvSpPr>
          <p:nvPr/>
        </p:nvSpPr>
        <p:spPr>
          <a:xfrm>
            <a:off x="502442" y="1294228"/>
            <a:ext cx="6944563" cy="24913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后</a:t>
            </a:r>
            <a:r>
              <a: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向聚焦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</a:t>
            </a:r>
            <a:r>
              <a:rPr lang="en-US" altLang="zh-CN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backward focusing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r>
              <a:rPr lang="en-US" altLang="zh-CN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: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很多状态的值发生变化带动前继状态的值发生变化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有的值改变很多，有的改变很少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因此需要根据紧急程度，给这些更新设置优先度进行更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5" name="文本占位符 3">
            <a:extLst>
              <a:ext uri="{FF2B5EF4-FFF2-40B4-BE49-F238E27FC236}">
                <a16:creationId xmlns:a16="http://schemas.microsoft.com/office/drawing/2014/main" id="{06B8DB41-0122-4357-9E38-F64CEC891C79}"/>
              </a:ext>
            </a:extLst>
          </p:cNvPr>
          <p:cNvSpPr txBox="1">
            <a:spLocks/>
          </p:cNvSpPr>
          <p:nvPr/>
        </p:nvSpPr>
        <p:spPr>
          <a:xfrm>
            <a:off x="502442" y="3636333"/>
            <a:ext cx="2278863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优先级采样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内容占位符 2">
                <a:extLst>
                  <a:ext uri="{FF2B5EF4-FFF2-40B4-BE49-F238E27FC236}">
                    <a16:creationId xmlns:a16="http://schemas.microsoft.com/office/drawing/2014/main" id="{DE2D63D2-2735-4A4B-BF49-757BA7EDB9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568" y="4237568"/>
                <a:ext cx="8262729" cy="132620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设置优先级更新队列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根据值改变的幅度定义优先级：</a:t>
                </a:r>
                <a14:m>
                  <m:oMath xmlns:m="http://schemas.openxmlformats.org/officeDocument/2006/math">
                    <m:r>
                      <a:rPr lang="en-US" altLang="zh-CN" i="1" kern="10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Times New Roman" panose="02020603050405020304" pitchFamily="18" charset="0"/>
                      </a:rPr>
                      <m:t>𝑃</m:t>
                    </m:r>
                    <m:r>
                      <a:rPr lang="zh-CN" altLang="zh-CN" kern="10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Times New Roman" panose="02020603050405020304" pitchFamily="18" charset="0"/>
                      </a:rPr>
                      <m:t>←</m:t>
                    </m:r>
                    <m:d>
                      <m:dPr>
                        <m:begChr m:val="|"/>
                        <m:endChr m:val="|"/>
                        <m:ctrlPr>
                          <a:rPr lang="zh-CN" altLang="zh-CN" i="1" kern="10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i="1" kern="10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  <m:r>
                          <a:rPr lang="en-US" altLang="zh-CN" i="1" kern="10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</m:t>
                        </m:r>
                        <m:r>
                          <a:rPr lang="en-US" altLang="zh-CN" i="1" kern="10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𝛾</m:t>
                        </m:r>
                        <m:func>
                          <m:funcPr>
                            <m:ctrlPr>
                              <a:rPr lang="zh-CN" altLang="zh-CN" i="1" kern="10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funcPr>
                          <m:fName>
                            <m:limLow>
                              <m:limLowPr>
                                <m:ctrlPr>
                                  <a:rPr lang="zh-CN" altLang="zh-CN" i="1" kern="10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阿里巴巴普惠体 R" panose="00020600040101010101" pitchFamily="18" charset="-122"/>
                                  </a:rPr>
                                </m:ctrlPr>
                              </m:limLowPr>
                              <m:e>
                                <m:r>
                                  <m:rPr>
                                    <m:sty m:val="p"/>
                                  </m:rPr>
                                  <a:rPr lang="en-US" altLang="zh-CN" kern="10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max</m:t>
                                </m:r>
                              </m:e>
                              <m:lim>
                                <m:r>
                                  <a:rPr lang="en-US" altLang="zh-CN" i="1" kern="10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𝑎</m:t>
                                </m:r>
                              </m:lim>
                            </m:limLow>
                          </m:fName>
                          <m:e>
                            <m:r>
                              <a:rPr lang="en-US" altLang="zh-CN" i="1" kern="10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𝑄</m:t>
                            </m:r>
                          </m:e>
                        </m:func>
                        <m:d>
                          <m:dPr>
                            <m:ctrlPr>
                              <a:rPr lang="zh-CN" altLang="zh-CN" i="1" kern="10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zh-CN" altLang="zh-CN" i="1" kern="10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i="1" kern="10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𝑆</m:t>
                                </m:r>
                              </m:e>
                              <m:sup>
                                <m:r>
                                  <a:rPr lang="en-US" altLang="zh-CN" i="1" kern="10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′</m:t>
                                </m:r>
                              </m:sup>
                            </m:sSup>
                            <m:r>
                              <a:rPr lang="en-US" altLang="zh-CN" i="1" kern="10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r>
                              <a:rPr lang="en-US" altLang="zh-CN" i="1" kern="10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</m:d>
                        <m:r>
                          <a:rPr lang="en-US" altLang="zh-CN" i="1" kern="10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i="1" kern="10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  <m:d>
                          <m:dPr>
                            <m:ctrlPr>
                              <a:rPr lang="zh-CN" altLang="zh-CN" i="1" kern="10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i="1" kern="10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𝑆</m:t>
                            </m:r>
                            <m:r>
                              <a:rPr lang="en-US" altLang="zh-CN" i="1" kern="10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r>
                              <a:rPr lang="en-US" altLang="zh-CN" i="1" kern="10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𝐴</m:t>
                            </m:r>
                          </m:e>
                        </m:d>
                      </m:e>
                    </m:d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6" name="内容占位符 2">
                <a:extLst>
                  <a:ext uri="{FF2B5EF4-FFF2-40B4-BE49-F238E27FC236}">
                    <a16:creationId xmlns:a16="http://schemas.microsoft.com/office/drawing/2014/main" id="{DE2D63D2-2735-4A4B-BF49-757BA7EDB9A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3568" y="4237568"/>
                <a:ext cx="8262729" cy="1326204"/>
              </a:xfrm>
              <a:prstGeom prst="rect">
                <a:avLst/>
              </a:prstGeom>
              <a:blipFill>
                <a:blip r:embed="rId6"/>
                <a:stretch>
                  <a:fillRect l="-442" t="-229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63516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-49236"/>
            <a:ext cx="8137922" cy="1028699"/>
          </a:xfrm>
        </p:spPr>
        <p:txBody>
          <a:bodyPr/>
          <a:lstStyle/>
          <a:p>
            <a:r>
              <a:rPr lang="zh-CN" altLang="en-US" dirty="0"/>
              <a:t>优先级采样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4</a:t>
            </a:fld>
            <a:endParaRPr lang="zh-CN" altLang="en-US" dirty="0"/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938728"/>
            <a:ext cx="8137922" cy="8279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矩形: 圆角 10">
                <a:extLst>
                  <a:ext uri="{FF2B5EF4-FFF2-40B4-BE49-F238E27FC236}">
                    <a16:creationId xmlns:a16="http://schemas.microsoft.com/office/drawing/2014/main" id="{F4A4A443-056D-44C3-BCD7-0209BC8865F2}"/>
                  </a:ext>
                </a:extLst>
              </p:cNvPr>
              <p:cNvSpPr/>
              <p:nvPr/>
            </p:nvSpPr>
            <p:spPr>
              <a:xfrm>
                <a:off x="843520" y="1583782"/>
                <a:ext cx="6893714" cy="4368008"/>
              </a:xfrm>
              <a:prstGeom prst="roundRect">
                <a:avLst>
                  <a:gd name="adj" fmla="val 7363"/>
                </a:avLst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Aft>
                    <a:spcPts val="0"/>
                  </a:spcAft>
                </a:pPr>
                <a:r>
                  <a:rPr lang="zh-CN" altLang="en-US" sz="1400" dirty="0">
                    <a:solidFill>
                      <a:schemeClr val="tx1"/>
                    </a:solidFill>
                    <a:ea typeface="阿里巴巴普惠体 B" panose="00020600040101010101"/>
                  </a:rPr>
                  <a:t>算法</a:t>
                </a:r>
                <a:r>
                  <a:rPr lang="en-US" altLang="zh-CN" sz="1400" dirty="0">
                    <a:solidFill>
                      <a:schemeClr val="tx1"/>
                    </a:solidFill>
                    <a:ea typeface="阿里巴巴普惠体 B" panose="00020600040101010101"/>
                  </a:rPr>
                  <a:t>: </a:t>
                </a:r>
                <a:r>
                  <a:rPr lang="zh-CN" altLang="en-US" sz="1400" dirty="0">
                    <a:solidFill>
                      <a:schemeClr val="tx1"/>
                    </a:solidFill>
                    <a:ea typeface="阿里巴巴普惠体 B" panose="00020600040101010101"/>
                  </a:rPr>
                  <a:t>确定性环境中的优先级采样</a:t>
                </a:r>
                <a:endParaRPr lang="en-US" altLang="zh-CN" sz="1400" dirty="0">
                  <a:solidFill>
                    <a:schemeClr val="tx1"/>
                  </a:solidFill>
                  <a:ea typeface="阿里巴巴普惠体 B" panose="00020600040101010101"/>
                </a:endParaRPr>
              </a:p>
              <a:p>
                <a:pPr>
                  <a:spcAft>
                    <a:spcPts val="0"/>
                  </a:spcAft>
                </a:pPr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所有的</a:t>
                </a:r>
                <a14:m>
                  <m:oMath xmlns:m="http://schemas.openxmlformats.org/officeDocument/2006/math"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zh-CN" altLang="zh-CN" sz="1400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Times New Roman" panose="02020603050405020304" pitchFamily="18" charset="0"/>
                      </a:rPr>
                      <m:t>∈</m:t>
                    </m:r>
                    <m:r>
                      <a:rPr lang="en-US" altLang="zh-CN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𝒮</m:t>
                    </m:r>
                  </m:oMath>
                </a14:m>
                <a:r>
                  <a:rPr lang="zh-CN" altLang="zh-CN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14:m>
                  <m:oMath xmlns:m="http://schemas.openxmlformats.org/officeDocument/2006/math"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zh-CN" altLang="zh-CN" sz="1400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Times New Roman" panose="02020603050405020304" pitchFamily="18" charset="0"/>
                      </a:rPr>
                      <m:t>∈</m:t>
                    </m:r>
                    <m:r>
                      <a:rPr lang="en-US" altLang="zh-CN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𝒜</m:t>
                    </m:r>
                    <m:d>
                      <m:dPr>
                        <m:ctrlPr>
                          <a:rPr lang="zh-CN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</m:d>
                    <m:r>
                      <a:rPr lang="zh-CN" altLang="en-US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</m:oMath>
                </a14:m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初始化值函数</a:t>
                </a:r>
                <a14:m>
                  <m:oMath xmlns:m="http://schemas.openxmlformats.org/officeDocument/2006/math"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模</a:t>
                </a:r>
                <a14:m>
                  <m:oMath xmlns:m="http://schemas.openxmlformats.org/officeDocument/2006/math">
                    <m:r>
                      <a:rPr lang="en-US" altLang="zh-CN" sz="1400" b="0" i="0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𝑀𝑜𝑑𝑒𝑙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  <m:r>
                      <a:rPr lang="zh-CN" altLang="en-US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；</m:t>
                    </m:r>
                    <m:r>
                      <a:rPr lang="zh-CN" altLang="en-US" sz="140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初始化</m:t>
                    </m:r>
                    <m:r>
                      <a:rPr lang="zh-CN" altLang="en-US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优先级</m:t>
                    </m:r>
                  </m:oMath>
                </a14:m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队列</a:t>
                </a:r>
                <a14:m>
                  <m:oMath xmlns:m="http://schemas.openxmlformats.org/officeDocument/2006/math">
                    <m:r>
                      <a:rPr lang="en-US" altLang="zh-CN" sz="1400" b="0" i="1" kern="1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𝑃𝑄𝑢𝑒𝑢𝑒</m:t>
                    </m:r>
                  </m:oMath>
                </a14:m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空</a:t>
                </a:r>
                <a:endParaRPr lang="en-US" altLang="zh-CN" sz="14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algn="just">
                  <a:spcAft>
                    <a:spcPts val="0"/>
                  </a:spcAft>
                </a:pPr>
                <a:r>
                  <a:rPr lang="zh-CN" altLang="zh-CN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重复以下步骤</a:t>
                </a:r>
                <a:r>
                  <a:rPr lang="en-US" altLang="zh-CN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:</a:t>
                </a:r>
                <a:endParaRPr lang="zh-CN" altLang="zh-CN" sz="14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en-US" sz="1400" kern="100" dirty="0">
                    <a:solidFill>
                      <a:schemeClr val="tx1"/>
                    </a:solidFill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</a:t>
                </a:r>
                <a14:m>
                  <m:oMath xmlns:m="http://schemas.openxmlformats.org/officeDocument/2006/math">
                    <m:r>
                      <a:rPr lang="en-US" altLang="zh-CN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zh-CN" altLang="en-US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当前</m:t>
                    </m:r>
                  </m:oMath>
                </a14:m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（非终止）状态</a:t>
                </a:r>
                <a:endParaRPr lang="en-US" altLang="zh-CN" sz="14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</a:t>
                </a:r>
                <a14:m>
                  <m:oMath xmlns:m="http://schemas.openxmlformats.org/officeDocument/2006/math">
                    <m:r>
                      <a:rPr lang="en-US" altLang="zh-CN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  <m:r>
                      <a:rPr lang="en-US" altLang="zh-CN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sz="140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𝜖</m:t>
                    </m:r>
                  </m:oMath>
                </a14:m>
                <a:r>
                  <a:rPr lang="en-US" altLang="zh-CN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greedy</a:t>
                </a:r>
                <a14:m>
                  <m:oMath xmlns:m="http://schemas.openxmlformats.org/officeDocument/2006/math"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zh-CN" altLang="zh-CN" sz="14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做动作</a:t>
                </a:r>
                <a14:m>
                  <m:oMath xmlns:m="http://schemas.openxmlformats.org/officeDocument/2006/math"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</m:oMath>
                </a14:m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；得到奖励</a:t>
                </a:r>
                <a14:m>
                  <m:oMath xmlns:m="http://schemas.openxmlformats.org/officeDocument/2006/math"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  <m:r>
                      <a:rPr lang="zh-CN" altLang="en-US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和</m:t>
                    </m:r>
                  </m:oMath>
                </a14:m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zh-CN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  <m:sup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</m:sup>
                    </m:sSup>
                  </m:oMath>
                </a14:m>
                <a:endParaRPr lang="en-US" altLang="zh-CN" sz="14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</a:t>
                </a:r>
                <a14:m>
                  <m:oMath xmlns:m="http://schemas.openxmlformats.org/officeDocument/2006/math"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Times New Roman" panose="02020603050405020304" pitchFamily="18" charset="0"/>
                      </a:rPr>
                      <m:t>𝑃</m:t>
                    </m:r>
                    <m:r>
                      <a:rPr lang="zh-CN" altLang="zh-CN" sz="1400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Times New Roman" panose="02020603050405020304" pitchFamily="18" charset="0"/>
                      </a:rPr>
                      <m:t>←</m:t>
                    </m:r>
                    <m:d>
                      <m:dPr>
                        <m:begChr m:val="|"/>
                        <m:endChr m:val="|"/>
                        <m:ctrlPr>
                          <a:rPr lang="zh-CN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</m:t>
                        </m:r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𝛾</m:t>
                        </m:r>
                        <m:func>
                          <m:funcPr>
                            <m:ctrlPr>
                              <a:rPr lang="zh-CN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funcPr>
                          <m:fName>
                            <m:limLow>
                              <m:limLowPr>
                                <m:ctrlPr>
                                  <a:rPr lang="zh-CN" altLang="zh-CN" sz="14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阿里巴巴普惠体 R" panose="00020600040101010101" pitchFamily="18" charset="-122"/>
                                  </a:rPr>
                                </m:ctrlPr>
                              </m:limLowPr>
                              <m:e>
                                <m:r>
                                  <m:rPr>
                                    <m:sty m:val="p"/>
                                  </m:rPr>
                                  <a:rPr lang="en-US" altLang="zh-CN" sz="1400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max</m:t>
                                </m:r>
                              </m:e>
                              <m:lim>
                                <m:r>
                                  <a:rPr lang="en-US" altLang="zh-CN" sz="14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𝑎</m:t>
                                </m:r>
                              </m:lim>
                            </m:limLow>
                          </m:fName>
                          <m:e>
                            <m:r>
                              <a:rPr lang="en-US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𝑄</m:t>
                            </m:r>
                          </m:e>
                        </m:func>
                        <m:d>
                          <m:dPr>
                            <m:ctrlPr>
                              <a:rPr lang="zh-CN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zh-CN" altLang="zh-CN" sz="14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sz="14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𝑆</m:t>
                                </m:r>
                              </m:e>
                              <m:sup>
                                <m:r>
                                  <a:rPr lang="en-US" altLang="zh-CN" sz="14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′</m:t>
                                </m:r>
                              </m:sup>
                            </m:sSup>
                            <m:r>
                              <a:rPr lang="en-US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r>
                              <a:rPr lang="en-US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</m:d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  <m:d>
                          <m:dPr>
                            <m:ctrlPr>
                              <a:rPr lang="zh-CN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𝑆</m:t>
                            </m:r>
                            <m:r>
                              <a:rPr lang="en-US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r>
                              <a:rPr lang="en-US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𝐴</m:t>
                            </m:r>
                          </m:e>
                        </m:d>
                      </m:e>
                    </m:d>
                  </m:oMath>
                </a14:m>
                <a:endParaRPr lang="en-US" altLang="zh-CN" sz="14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果</a:t>
                </a:r>
                <a14:m>
                  <m:oMath xmlns:m="http://schemas.openxmlformats.org/officeDocument/2006/math"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𝑃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&gt;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r>
                  <a:rPr lang="en-US" altLang="zh-CN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,</a:t>
                </a:r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将</a:t>
                </a:r>
                <a14:m>
                  <m:oMath xmlns:m="http://schemas.openxmlformats.org/officeDocument/2006/math"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  <m:r>
                      <a:rPr lang="zh-CN" altLang="en-US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以</m:t>
                    </m:r>
                  </m:oMath>
                </a14:m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优先级</a:t>
                </a:r>
                <a14:m>
                  <m:oMath xmlns:m="http://schemas.openxmlformats.org/officeDocument/2006/math">
                    <m:r>
                      <a:rPr lang="en-US" altLang="zh-CN" sz="1400" b="0" i="1" kern="1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𝑃</m:t>
                    </m:r>
                  </m:oMath>
                </a14:m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插入</a:t>
                </a:r>
                <a14:m>
                  <m:oMath xmlns:m="http://schemas.openxmlformats.org/officeDocument/2006/math">
                    <m:r>
                      <a:rPr lang="en-US" altLang="zh-CN" sz="1400" i="1" kern="1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𝑃𝑄𝑢𝑒𝑢𝑒</m:t>
                    </m:r>
                  </m:oMath>
                </a14:m>
                <a:endParaRPr lang="zh-CN" altLang="zh-CN" sz="14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 algn="just">
                  <a:buFont typeface="+mj-lt"/>
                  <a:buAutoNum type="arabicPeriod"/>
                </a:pPr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重复以下步骤</a:t>
                </a:r>
                <a:r>
                  <a:rPr lang="en-US" altLang="zh-CN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n</a:t>
                </a:r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次</a:t>
                </a:r>
                <a:r>
                  <a:rPr lang="en-US" altLang="zh-CN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:</a:t>
                </a:r>
              </a:p>
              <a:p>
                <a:pPr marL="1257300" lvl="2" indent="-342900" algn="just">
                  <a:buAutoNum type="alphaLcPeriod"/>
                </a:pPr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</a:t>
                </a:r>
                <a14:m>
                  <m:oMath xmlns:m="http://schemas.openxmlformats.org/officeDocument/2006/math"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sz="1400" i="1" kern="1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𝑃𝑄𝑢𝑒𝑢𝑒</m:t>
                    </m:r>
                  </m:oMath>
                </a14:m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队列头元素</a:t>
                </a:r>
                <a:endParaRPr lang="en-US" altLang="zh-CN" sz="14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257300" lvl="2" indent="-342900" algn="just">
                  <a:buAutoNum type="alphaLcPeriod"/>
                </a:pPr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</a:t>
                </a:r>
                <a14:m>
                  <m:oMath xmlns:m="http://schemas.openxmlformats.org/officeDocument/2006/math"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</m:oMath>
                </a14:m>
                <a:r>
                  <a:rPr lang="zh-CN" altLang="zh-CN" sz="1400" kern="100" dirty="0">
                    <a:solidFill>
                      <a:schemeClr val="tx1"/>
                    </a:solidFill>
                    <a:ea typeface="Cambria Math" panose="02040503050406030204" pitchFamily="18" charset="0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zh-CN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  <m:sup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</m:sup>
                    </m:sSup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𝑀𝑜𝑑𝑒𝑙</m:t>
                    </m:r>
                    <m:d>
                      <m:dPr>
                        <m:ctrlPr>
                          <a:rPr lang="en-US" altLang="zh-CN" sz="14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4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  <m:r>
                          <a:rPr lang="en-US" altLang="zh-CN" sz="14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sz="1400" b="0" i="1" kern="10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</m:d>
                  </m:oMath>
                </a14:m>
                <a:endParaRPr lang="en-US" altLang="zh-CN" sz="1400" b="0" i="1" kern="100" dirty="0">
                  <a:solidFill>
                    <a:schemeClr val="tx1"/>
                  </a:solidFill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257300" lvl="2" indent="-342900" algn="just">
                  <a:buAutoNum type="alphaLcPeriod"/>
                </a:pPr>
                <a14:m>
                  <m:oMath xmlns:m="http://schemas.openxmlformats.org/officeDocument/2006/math">
                    <m:r>
                      <a:rPr lang="en-US" altLang="zh-CN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zh-CN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</m:d>
                    <m:r>
                      <a:rPr lang="zh-CN" altLang="zh-CN" sz="1400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Times New Roman" panose="02020603050405020304" pitchFamily="18" charset="0"/>
                      </a:rPr>
                      <m:t>←</m:t>
                    </m:r>
                    <m:r>
                      <a:rPr lang="en-US" altLang="zh-CN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zh-CN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</m:d>
                    <m:r>
                      <a:rPr lang="en-US" altLang="zh-CN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d>
                      <m:dPr>
                        <m:begChr m:val="["/>
                        <m:endChr m:val="]"/>
                        <m:ctrlPr>
                          <a:rPr lang="zh-CN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</m:t>
                        </m:r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𝛾</m:t>
                        </m:r>
                        <m:func>
                          <m:funcPr>
                            <m:ctrlPr>
                              <a:rPr lang="zh-CN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funcPr>
                          <m:fName>
                            <m:limLow>
                              <m:limLowPr>
                                <m:ctrlPr>
                                  <a:rPr lang="zh-CN" altLang="zh-CN" sz="14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阿里巴巴普惠体 R" panose="00020600040101010101" pitchFamily="18" charset="-122"/>
                                  </a:rPr>
                                </m:ctrlPr>
                              </m:limLowPr>
                              <m:e>
                                <m:r>
                                  <m:rPr>
                                    <m:sty m:val="p"/>
                                  </m:rPr>
                                  <a:rPr lang="en-US" altLang="zh-CN" sz="1400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max</m:t>
                                </m:r>
                              </m:e>
                              <m:lim>
                                <m:r>
                                  <a:rPr lang="en-US" altLang="zh-CN" sz="14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𝑎</m:t>
                                </m:r>
                              </m:lim>
                            </m:limLow>
                          </m:fName>
                          <m:e>
                            <m:r>
                              <a:rPr lang="en-US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𝑄</m:t>
                            </m:r>
                          </m:e>
                        </m:func>
                        <m:d>
                          <m:dPr>
                            <m:ctrlPr>
                              <a:rPr lang="zh-CN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zh-CN" altLang="zh-CN" sz="14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sz="14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𝑆</m:t>
                                </m:r>
                              </m:e>
                              <m:sup>
                                <m:r>
                                  <a:rPr lang="en-US" altLang="zh-CN" sz="14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′</m:t>
                                </m:r>
                              </m:sup>
                            </m:sSup>
                            <m:r>
                              <a:rPr lang="en-US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r>
                              <a:rPr lang="en-US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</m:d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  <m:d>
                          <m:dPr>
                            <m:ctrlPr>
                              <a:rPr lang="zh-CN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𝑆</m:t>
                            </m:r>
                            <m:r>
                              <a:rPr lang="en-US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r>
                              <a:rPr lang="en-US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𝐴</m:t>
                            </m:r>
                          </m:e>
                        </m:d>
                      </m:e>
                    </m:d>
                  </m:oMath>
                </a14:m>
                <a:endParaRPr lang="en-US" altLang="zh-CN" sz="14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257300" lvl="2" indent="-342900" algn="just">
                  <a:buAutoNum type="alphaLcPeriod"/>
                </a:pPr>
                <a:r>
                  <a:rPr lang="zh-CN" altLang="en-US" sz="1400" kern="100" dirty="0">
                    <a:solidFill>
                      <a:schemeClr val="tx1"/>
                    </a:solidFill>
                    <a:highlight>
                      <a:srgbClr val="FFFF00"/>
                    </a:highlight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所有能够到达</a:t>
                </a:r>
                <a14:m>
                  <m:oMath xmlns:m="http://schemas.openxmlformats.org/officeDocument/2006/math"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</m:oMath>
                </a14:m>
                <a:r>
                  <a:rPr lang="zh-CN" altLang="en-US" sz="1400" kern="100" dirty="0">
                    <a:solidFill>
                      <a:schemeClr val="tx1"/>
                    </a:solidFill>
                    <a:highlight>
                      <a:srgbClr val="FFFF00"/>
                    </a:highlight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zh-CN" altLang="zh-CN" sz="1400" i="1" kern="100" smtClean="0">
                            <a:solidFill>
                              <a:schemeClr val="tx1"/>
                            </a:solidFill>
                            <a:highlight>
                              <a:srgbClr val="FFFF00"/>
                            </a:highlight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accPr>
                      <m:e>
                        <m:r>
                          <a:rPr lang="en-US" altLang="zh-CN" sz="1400" kern="100">
                            <a:solidFill>
                              <a:schemeClr val="tx1"/>
                            </a:solidFill>
                            <a:highlight>
                              <a:srgbClr val="FFFF00"/>
                            </a:highlight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</m:acc>
                    <m:r>
                      <a:rPr lang="en-US" altLang="zh-CN" sz="1400" kern="10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acc>
                      <m:accPr>
                        <m:chr m:val="̅"/>
                        <m:ctrlPr>
                          <a:rPr lang="zh-CN" altLang="zh-CN" sz="1400" i="1" kern="100">
                            <a:solidFill>
                              <a:schemeClr val="tx1"/>
                            </a:solidFill>
                            <a:highlight>
                              <a:srgbClr val="FFFF00"/>
                            </a:highlight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accPr>
                      <m:e>
                        <m:r>
                          <a:rPr lang="en-US" altLang="zh-CN" sz="1400" kern="100">
                            <a:solidFill>
                              <a:schemeClr val="tx1"/>
                            </a:solidFill>
                            <a:highlight>
                              <a:srgbClr val="FFFF00"/>
                            </a:highlight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</m:acc>
                    <m:r>
                      <a:rPr lang="zh-CN" altLang="en-US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：</m:t>
                    </m:r>
                  </m:oMath>
                </a14:m>
                <a:endParaRPr lang="en-US" altLang="zh-CN" sz="14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714500" lvl="3" indent="-342900" algn="just">
                  <a:buAutoNum type="alphaLcPeriod"/>
                </a:pPr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zh-CN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accPr>
                      <m:e>
                        <m:r>
                          <a:rPr lang="en-US" altLang="zh-CN" sz="1400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</m:acc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</m:oMath>
                </a14:m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模型对于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zh-CN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accPr>
                      <m:e>
                        <m:r>
                          <a:rPr lang="en-US" altLang="zh-CN" sz="1400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</m:acc>
                    <m:r>
                      <a:rPr lang="en-US" altLang="zh-CN" sz="1400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acc>
                      <m:accPr>
                        <m:chr m:val="̅"/>
                        <m:ctrlPr>
                          <a:rPr lang="zh-CN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accPr>
                      <m:e>
                        <m:r>
                          <a:rPr lang="en-US" altLang="zh-CN" sz="1400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</m:acc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sz="1400" b="0" i="1" kern="1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</m:oMath>
                </a14:m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预测的奖励</a:t>
                </a:r>
                <a:endParaRPr lang="en-US" altLang="zh-CN" sz="14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714500" lvl="3" indent="-342900" algn="just">
                  <a:buFontTx/>
                  <a:buAutoNum type="alphaLcPeriod"/>
                </a:pPr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</a:t>
                </a:r>
                <a14:m>
                  <m:oMath xmlns:m="http://schemas.openxmlformats.org/officeDocument/2006/math">
                    <m:r>
                      <a:rPr lang="en-US" altLang="zh-CN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𝑃</m:t>
                    </m:r>
                    <m:r>
                      <a:rPr lang="zh-CN" altLang="zh-CN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d>
                      <m:dPr>
                        <m:begChr m:val="|"/>
                        <m:endChr m:val="|"/>
                        <m:ctrlPr>
                          <a:rPr lang="zh-CN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acc>
                          <m:accPr>
                            <m:chr m:val="̅"/>
                            <m:ctrlPr>
                              <a:rPr lang="zh-CN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accPr>
                          <m:e>
                            <m:r>
                              <a:rPr lang="en-US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𝑅</m:t>
                            </m:r>
                          </m:e>
                        </m:acc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</m:t>
                        </m:r>
                        <m:r>
                          <m:rPr>
                            <m:sty m:val="p"/>
                          </m:rP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γ</m:t>
                        </m:r>
                        <m:func>
                          <m:funcPr>
                            <m:ctrlPr>
                              <a:rPr lang="zh-CN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funcPr>
                          <m:fName>
                            <m:limLow>
                              <m:limLowPr>
                                <m:ctrlPr>
                                  <a:rPr lang="zh-CN" altLang="zh-CN" sz="14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limLowPr>
                              <m:e>
                                <m:r>
                                  <m:rPr>
                                    <m:sty m:val="p"/>
                                  </m:rPr>
                                  <a:rPr lang="en-US" altLang="zh-CN" sz="14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max</m:t>
                                </m:r>
                              </m:e>
                              <m:lim>
                                <m:r>
                                  <a:rPr lang="en-US" altLang="zh-CN" sz="14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𝑎</m:t>
                                </m:r>
                              </m:lim>
                            </m:limLow>
                          </m:fName>
                          <m:e>
                            <m:r>
                              <a:rPr lang="en-US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𝑄</m:t>
                            </m:r>
                          </m:e>
                        </m:func>
                        <m:d>
                          <m:dPr>
                            <m:ctrlPr>
                              <a:rPr lang="zh-CN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𝑆</m:t>
                            </m:r>
                            <m:r>
                              <a:rPr lang="en-US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r>
                              <a:rPr lang="en-US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</m:d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  <m:d>
                          <m:dPr>
                            <m:ctrlPr>
                              <a:rPr lang="zh-CN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acc>
                              <m:accPr>
                                <m:chr m:val="̅"/>
                                <m:ctrlPr>
                                  <a:rPr lang="zh-CN" altLang="zh-CN" sz="14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accPr>
                              <m:e>
                                <m:r>
                                  <a:rPr lang="en-US" altLang="zh-CN" sz="14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𝑆</m:t>
                                </m:r>
                              </m:e>
                            </m:acc>
                            <m:r>
                              <a:rPr lang="en-US" altLang="zh-CN" sz="1400" i="1" kern="1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acc>
                              <m:accPr>
                                <m:chr m:val="̅"/>
                                <m:ctrlPr>
                                  <a:rPr lang="zh-CN" altLang="zh-CN" sz="14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accPr>
                              <m:e>
                                <m:r>
                                  <a:rPr lang="en-US" altLang="zh-CN" sz="1400" i="1" kern="1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𝐴</m:t>
                                </m:r>
                              </m:e>
                            </m:acc>
                          </m:e>
                        </m:d>
                      </m:e>
                    </m:d>
                  </m:oMath>
                </a14:m>
                <a:endParaRPr lang="en-US" altLang="zh-CN" sz="14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714500" lvl="3" indent="-342900" algn="just">
                  <a:buFontTx/>
                  <a:buAutoNum type="alphaLcPeriod"/>
                </a:pPr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果</a:t>
                </a:r>
                <a14:m>
                  <m:oMath xmlns:m="http://schemas.openxmlformats.org/officeDocument/2006/math">
                    <m:r>
                      <a:rPr lang="en-US" altLang="zh-CN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𝑃</m:t>
                    </m:r>
                    <m:r>
                      <a:rPr lang="en-US" altLang="zh-CN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&gt;</m:t>
                    </m:r>
                    <m:r>
                      <a:rPr lang="en-US" altLang="zh-CN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r>
                  <a:rPr lang="en-US" altLang="zh-CN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,</a:t>
                </a:r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将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zh-CN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accPr>
                      <m:e>
                        <m:r>
                          <a:rPr lang="en-US" altLang="zh-CN" sz="1400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</m:acc>
                    <m:r>
                      <a:rPr lang="en-US" altLang="zh-CN" sz="1400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acc>
                      <m:accPr>
                        <m:chr m:val="̅"/>
                        <m:ctrlPr>
                          <a:rPr lang="zh-CN" altLang="zh-CN" sz="1400" i="1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accPr>
                      <m:e>
                        <m:r>
                          <a:rPr lang="en-US" altLang="zh-CN" sz="1400" kern="1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</m:acc>
                    <m:r>
                      <a:rPr lang="zh-CN" altLang="en-US" sz="1400" i="1" kern="1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以</m:t>
                    </m:r>
                  </m:oMath>
                </a14:m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优先级</a:t>
                </a:r>
                <a14:m>
                  <m:oMath xmlns:m="http://schemas.openxmlformats.org/officeDocument/2006/math">
                    <m:r>
                      <a:rPr lang="en-US" altLang="zh-CN" sz="1400" i="1" kern="1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𝑃</m:t>
                    </m:r>
                  </m:oMath>
                </a14:m>
                <a:r>
                  <a:rPr lang="zh-CN" altLang="en-US" sz="1400" kern="1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插入</a:t>
                </a:r>
                <a14:m>
                  <m:oMath xmlns:m="http://schemas.openxmlformats.org/officeDocument/2006/math">
                    <m:r>
                      <a:rPr lang="en-US" altLang="zh-CN" sz="1400" i="1" kern="1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𝑃𝑄𝑢𝑒𝑢𝑒</m:t>
                    </m:r>
                  </m:oMath>
                </a14:m>
                <a:endParaRPr lang="en-US" altLang="zh-CN" sz="1400" kern="1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1" name="矩形: 圆角 10">
                <a:extLst>
                  <a:ext uri="{FF2B5EF4-FFF2-40B4-BE49-F238E27FC236}">
                    <a16:creationId xmlns:a16="http://schemas.microsoft.com/office/drawing/2014/main" id="{F4A4A443-056D-44C3-BCD7-0209BC8865F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3520" y="1583782"/>
                <a:ext cx="6893714" cy="4368008"/>
              </a:xfrm>
              <a:prstGeom prst="roundRect">
                <a:avLst>
                  <a:gd name="adj" fmla="val 7363"/>
                </a:avLst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矩形 5">
            <a:extLst>
              <a:ext uri="{FF2B5EF4-FFF2-40B4-BE49-F238E27FC236}">
                <a16:creationId xmlns:a16="http://schemas.microsoft.com/office/drawing/2014/main" id="{6887D603-F7EC-4AD0-B976-2608080233FF}"/>
              </a:ext>
            </a:extLst>
          </p:cNvPr>
          <p:cNvSpPr/>
          <p:nvPr/>
        </p:nvSpPr>
        <p:spPr>
          <a:xfrm>
            <a:off x="1455118" y="3259394"/>
            <a:ext cx="4206240" cy="55997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C933E4DB-4F16-48A6-BDFB-85DE1E1D3E35}"/>
              </a:ext>
            </a:extLst>
          </p:cNvPr>
          <p:cNvSpPr/>
          <p:nvPr/>
        </p:nvSpPr>
        <p:spPr>
          <a:xfrm>
            <a:off x="1455118" y="4016319"/>
            <a:ext cx="4206240" cy="23753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4054179-CA92-4A6D-B0B7-FB481AB90EC9}"/>
              </a:ext>
            </a:extLst>
          </p:cNvPr>
          <p:cNvSpPr/>
          <p:nvPr/>
        </p:nvSpPr>
        <p:spPr>
          <a:xfrm>
            <a:off x="2294815" y="5221344"/>
            <a:ext cx="4206240" cy="61556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95272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2" grpId="0" animBg="1"/>
      <p:bldP spid="13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优先级采样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5</a:t>
            </a:fld>
            <a:endParaRPr lang="zh-CN" altLang="en-US" dirty="0"/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BA8BB5BE-7181-BE46-AD89-DA62294A69F2}"/>
              </a:ext>
            </a:extLst>
          </p:cNvPr>
          <p:cNvSpPr txBox="1">
            <a:spLocks/>
          </p:cNvSpPr>
          <p:nvPr/>
        </p:nvSpPr>
        <p:spPr>
          <a:xfrm>
            <a:off x="502444" y="1374739"/>
            <a:ext cx="1700429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举例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: 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迷宫</a:t>
            </a:r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938728"/>
            <a:ext cx="8137922" cy="26332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>
                <a:ea typeface="阿里巴巴普惠体 R" panose="00020600040101010101" pitchFamily="18" charset="-122"/>
              </a:rPr>
              <a:t>横轴代表格子世界的大小</a:t>
            </a:r>
            <a:endParaRPr lang="en-US" altLang="zh-CN">
              <a:ea typeface="阿里巴巴普惠体 R" panose="00020600040101010101" pitchFamily="18" charset="-122"/>
            </a:endParaRPr>
          </a:p>
          <a:p>
            <a:r>
              <a: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纵轴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代表收敛到最优策略的更新次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优先级采样收敛更快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99189678-C10C-4F32-8941-DEA3A15D34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80694" y="3255364"/>
            <a:ext cx="3642606" cy="2966223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3B39E3C5-898F-4D64-9CA4-0D9BF95B9F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1794" y="1549273"/>
            <a:ext cx="2690309" cy="1743719"/>
          </a:xfrm>
          <a:prstGeom prst="rect">
            <a:avLst/>
          </a:prstGeom>
        </p:spPr>
      </p:pic>
      <p:sp>
        <p:nvSpPr>
          <p:cNvPr id="9" name="文本占位符 3">
            <a:extLst>
              <a:ext uri="{FF2B5EF4-FFF2-40B4-BE49-F238E27FC236}">
                <a16:creationId xmlns:a16="http://schemas.microsoft.com/office/drawing/2014/main" id="{843F3717-589F-458A-B885-E92E1438B163}"/>
              </a:ext>
            </a:extLst>
          </p:cNvPr>
          <p:cNvSpPr txBox="1">
            <a:spLocks/>
          </p:cNvSpPr>
          <p:nvPr/>
        </p:nvSpPr>
        <p:spPr>
          <a:xfrm>
            <a:off x="432410" y="3581574"/>
            <a:ext cx="2124367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局限性及改进</a:t>
            </a:r>
          </a:p>
        </p:txBody>
      </p:sp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AD5E8960-9CD5-482F-8445-C4211B8E8756}"/>
              </a:ext>
            </a:extLst>
          </p:cNvPr>
          <p:cNvSpPr txBox="1">
            <a:spLocks/>
          </p:cNvSpPr>
          <p:nvPr/>
        </p:nvSpPr>
        <p:spPr>
          <a:xfrm>
            <a:off x="432410" y="4128693"/>
            <a:ext cx="4548284" cy="23181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随机环境中利用期望更新（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expected updates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的方法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浪费很多计算资源在一些低概率的状态转移（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transitions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上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引入采样更新（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sample updates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37547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6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期望更新和</a:t>
            </a:r>
            <a:br>
              <a:rPr kumimoji="1" lang="en-US" altLang="zh-CN" dirty="0"/>
            </a:br>
            <a:r>
              <a:rPr kumimoji="1" lang="zh-CN" altLang="en-US" dirty="0"/>
              <a:t>采样更新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41340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期望更新和采样更新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7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1390287"/>
                <a:ext cx="8137922" cy="163132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/>
                  <a:t>值函数：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𝑉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endParaRPr lang="en-US" altLang="zh-CN" dirty="0"/>
              </a:p>
              <a:p>
                <a:r>
                  <a:rPr lang="zh-CN" altLang="en-US"/>
                  <a:t>动作值函数：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𝑄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</m:d>
                  </m:oMath>
                </a14:m>
                <a:endParaRPr lang="en-US" altLang="zh-CN" dirty="0"/>
              </a:p>
              <a:p>
                <a:r>
                  <a:rPr lang="zh-CN" altLang="en-US"/>
                  <a:t>期望更新或者采样更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390287"/>
                <a:ext cx="8137922" cy="1631323"/>
              </a:xfrm>
              <a:prstGeom prst="rect">
                <a:avLst/>
              </a:prstGeom>
              <a:blipFill>
                <a:blip r:embed="rId6"/>
                <a:stretch>
                  <a:fillRect l="-449" t="-18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3" name="图片 12">
            <a:extLst>
              <a:ext uri="{FF2B5EF4-FFF2-40B4-BE49-F238E27FC236}">
                <a16:creationId xmlns:a16="http://schemas.microsoft.com/office/drawing/2014/main" id="{FFE1D69B-0011-48F3-B069-59EB2E6A5B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90750" y="1211330"/>
            <a:ext cx="3066232" cy="4961720"/>
          </a:xfrm>
          <a:prstGeom prst="rect">
            <a:avLst/>
          </a:prstGeom>
        </p:spPr>
      </p:pic>
      <p:sp>
        <p:nvSpPr>
          <p:cNvPr id="21" name="文本占位符 3">
            <a:extLst>
              <a:ext uri="{FF2B5EF4-FFF2-40B4-BE49-F238E27FC236}">
                <a16:creationId xmlns:a16="http://schemas.microsoft.com/office/drawing/2014/main" id="{9AA2038B-4AB9-4201-A7A9-4CD67B2426B8}"/>
              </a:ext>
            </a:extLst>
          </p:cNvPr>
          <p:cNvSpPr txBox="1">
            <a:spLocks/>
          </p:cNvSpPr>
          <p:nvPr/>
        </p:nvSpPr>
        <p:spPr>
          <a:xfrm>
            <a:off x="572299" y="2886802"/>
            <a:ext cx="1134143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比较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2" name="内容占位符 2">
            <a:extLst>
              <a:ext uri="{FF2B5EF4-FFF2-40B4-BE49-F238E27FC236}">
                <a16:creationId xmlns:a16="http://schemas.microsoft.com/office/drawing/2014/main" id="{D058F6E2-153D-4B91-8D41-70F0AE11ECE7}"/>
              </a:ext>
            </a:extLst>
          </p:cNvPr>
          <p:cNvSpPr txBox="1">
            <a:spLocks/>
          </p:cNvSpPr>
          <p:nvPr/>
        </p:nvSpPr>
        <p:spPr>
          <a:xfrm>
            <a:off x="502443" y="3590706"/>
            <a:ext cx="8137922" cy="29533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期望更新</a:t>
            </a:r>
            <a:endParaRPr lang="en-US" altLang="zh-CN" dirty="0"/>
          </a:p>
          <a:p>
            <a:pPr lvl="1"/>
            <a:r>
              <a:rPr lang="zh-CN" altLang="en-US" dirty="0"/>
              <a:t>需要分布模型</a:t>
            </a:r>
            <a:endParaRPr lang="en-US" altLang="zh-CN" dirty="0"/>
          </a:p>
          <a:p>
            <a:pPr lvl="1"/>
            <a:r>
              <a:rPr lang="zh-CN" altLang="en-US" dirty="0"/>
              <a:t>需要更大的计算量</a:t>
            </a:r>
            <a:endParaRPr lang="en-US" altLang="zh-CN" dirty="0"/>
          </a:p>
          <a:p>
            <a:pPr lvl="1"/>
            <a:r>
              <a:rPr lang="zh-CN" altLang="en-US" dirty="0"/>
              <a:t>没有偏差更准确</a:t>
            </a:r>
            <a:endParaRPr lang="en-US" altLang="zh-CN" dirty="0"/>
          </a:p>
          <a:p>
            <a:r>
              <a:rPr lang="zh-CN" altLang="en-US" dirty="0"/>
              <a:t>采样更新</a:t>
            </a:r>
            <a:endParaRPr lang="en-US" altLang="zh-CN" dirty="0"/>
          </a:p>
          <a:p>
            <a:pPr lvl="1"/>
            <a:r>
              <a:rPr lang="zh-CN" altLang="en-US" dirty="0"/>
              <a:t>只需要采样模型</a:t>
            </a:r>
            <a:endParaRPr lang="en-US" altLang="zh-CN" dirty="0"/>
          </a:p>
          <a:p>
            <a:pPr lvl="1"/>
            <a:r>
              <a:rPr lang="zh-CN" altLang="en-US" dirty="0"/>
              <a:t>计算量需求更低</a:t>
            </a:r>
            <a:endParaRPr lang="en-US" altLang="zh-CN" dirty="0"/>
          </a:p>
          <a:p>
            <a:pPr lvl="1"/>
            <a:r>
              <a:rPr lang="zh-CN" altLang="en-US" dirty="0"/>
              <a:t>受到采样误差</a:t>
            </a:r>
            <a:r>
              <a:rPr lang="en-US" altLang="zh-CN" dirty="0"/>
              <a:t>(</a:t>
            </a:r>
            <a:r>
              <a:rPr lang="en-US" altLang="zh-CN" dirty="0">
                <a:solidFill>
                  <a:schemeClr val="accent1"/>
                </a:solidFill>
              </a:rPr>
              <a:t>sampling error</a:t>
            </a:r>
            <a:r>
              <a:rPr lang="en-US" altLang="zh-CN" dirty="0"/>
              <a:t>)</a:t>
            </a:r>
            <a:r>
              <a:rPr lang="zh-CN" altLang="en-US" dirty="0"/>
              <a:t>的影响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94B12CE8-9004-4D0D-8D1C-33F837701272}"/>
                  </a:ext>
                </a:extLst>
              </p:cNvPr>
              <p:cNvSpPr txBox="1"/>
              <p:nvPr/>
            </p:nvSpPr>
            <p:spPr>
              <a:xfrm>
                <a:off x="1139371" y="3534424"/>
                <a:ext cx="5159827" cy="6388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400" i="1" dirty="0" smtClean="0">
                          <a:latin typeface="Cambria Math" panose="02040503050406030204" pitchFamily="18" charset="0"/>
                        </a:rPr>
                        <m:t>𝑄</m:t>
                      </m:r>
                      <m:d>
                        <m:d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1400" i="1" dirty="0" err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1400" i="1" dirty="0" err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1400" i="1" dirty="0" err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altLang="zh-CN" sz="1400" i="1" dirty="0" smtClean="0">
                          <a:latin typeface="Cambria Math" panose="02040503050406030204" pitchFamily="18" charset="0"/>
                        </a:rPr>
                        <m:t>←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sSup>
                            <m:sSupPr>
                              <m:ctrlP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sub>
                        <m:sup/>
                        <m:e>
                          <m:acc>
                            <m:accPr>
                              <m:chr m:val="̂"/>
                              <m:ctrlP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</m:acc>
                          <m:d>
                            <m:dPr>
                              <m:ctrlP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sz="1400" b="0" i="1" dirty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400" b="0" i="1" dirty="0" smtClean="0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sz="1400" b="0" i="1" dirty="0" smtClean="0">
                                      <a:latin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e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d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[</m:t>
                          </m:r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𝑟</m:t>
                          </m:r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𝛾</m:t>
                          </m:r>
                          <m:limLow>
                            <m:limLowPr>
                              <m:ctrlP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sz="1400" b="0" i="0" dirty="0" smtClean="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sSup>
                                <m:sSupPr>
                                  <m:ctrlPr>
                                    <a:rPr lang="en-US" altLang="zh-CN" sz="1400" b="0" i="1" dirty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sz="1400" b="0" i="0" dirty="0" smtClean="0">
                                      <a:latin typeface="Cambria Math" panose="02040503050406030204" pitchFamily="18" charset="0"/>
                                    </a:rPr>
                                    <m:t>a</m:t>
                                  </m:r>
                                </m:e>
                                <m:sup>
                                  <m:r>
                                    <a:rPr lang="en-US" altLang="zh-CN" sz="1400" b="0" i="0" dirty="0" smtClean="0">
                                      <a:latin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</m:lim>
                          </m:limLow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𝑄</m:t>
                          </m:r>
                          <m:r>
                            <a:rPr lang="en-US" altLang="zh-CN" sz="1400" b="0" i="0" dirty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p>
                            <m:sSupPr>
                              <m:ctrlP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sz="1400" b="0" i="0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sz="1400" b="0" i="0" dirty="0" smtClean="0">
                              <a:latin typeface="Cambria Math" panose="02040503050406030204" pitchFamily="18" charset="0"/>
                            </a:rPr>
                            <m:t>)</m:t>
                          </m:r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⁡</m:t>
                          </m:r>
                        </m:e>
                      </m:nary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94B12CE8-9004-4D0D-8D1C-33F8377012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9371" y="3534424"/>
                <a:ext cx="5159827" cy="638893"/>
              </a:xfrm>
              <a:prstGeom prst="rect">
                <a:avLst/>
              </a:prstGeom>
              <a:blipFill>
                <a:blip r:embed="rId8"/>
                <a:stretch>
                  <a:fillRect t="-111429" b="-15619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7AB57423-9298-49A9-98BD-ECAEA908A9E2}"/>
                  </a:ext>
                </a:extLst>
              </p:cNvPr>
              <p:cNvSpPr txBox="1"/>
              <p:nvPr/>
            </p:nvSpPr>
            <p:spPr>
              <a:xfrm>
                <a:off x="1706442" y="5077522"/>
                <a:ext cx="4751508" cy="3814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400" i="1" dirty="0" smtClean="0">
                          <a:latin typeface="Cambria Math" panose="02040503050406030204" pitchFamily="18" charset="0"/>
                        </a:rPr>
                        <m:t>𝑄</m:t>
                      </m:r>
                      <m:d>
                        <m:d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1400" i="1" dirty="0" err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1400" i="1" dirty="0" err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1400" i="1" dirty="0" err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altLang="zh-CN" sz="1400" i="1" dirty="0" smtClean="0">
                          <a:latin typeface="Cambria Math" panose="02040503050406030204" pitchFamily="18" charset="0"/>
                        </a:rPr>
                        <m:t>←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𝑄</m:t>
                      </m:r>
                      <m:d>
                        <m:dPr>
                          <m:ctrlP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[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sz="1400" i="1" dirty="0">
                          <a:latin typeface="Cambria Math" panose="02040503050406030204" pitchFamily="18" charset="0"/>
                        </a:rPr>
                        <m:t>𝛾</m:t>
                      </m:r>
                      <m:limLow>
                        <m:limLowPr>
                          <m:ctrlPr>
                            <a:rPr lang="en-US" altLang="zh-CN" sz="1400" i="1" dirty="0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 sz="1400" dirty="0"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  <m:lim>
                          <m:sSup>
                            <m:sSupPr>
                              <m:ctrlPr>
                                <a:rPr lang="en-US" altLang="zh-CN" sz="1400" i="1" dirty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1400" i="1" dirty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sz="1400" i="1" dirty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lim>
                      </m:limLow>
                      <m:r>
                        <a:rPr lang="en-US" altLang="zh-CN" sz="1400" i="1" dirty="0">
                          <a:latin typeface="Cambria Math" panose="02040503050406030204" pitchFamily="18" charset="0"/>
                        </a:rPr>
                        <m:t>𝑄</m:t>
                      </m:r>
                      <m:d>
                        <m:dPr>
                          <m:ctrlPr>
                            <a:rPr lang="en-US" altLang="zh-CN" sz="1400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sz="1400" i="1" dirty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1400" i="1" dirty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 sz="1400" i="1" dirty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sz="1400" dirty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altLang="zh-CN" sz="1400" i="1" dirty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1400" i="1" dirty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sz="1400" i="1" dirty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e>
                      </m:d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 −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𝑄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)]</m:t>
                      </m:r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7AB57423-9298-49A9-98BD-ECAEA908A9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06442" y="5077522"/>
                <a:ext cx="4751508" cy="38145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矩形 5">
            <a:extLst>
              <a:ext uri="{FF2B5EF4-FFF2-40B4-BE49-F238E27FC236}">
                <a16:creationId xmlns:a16="http://schemas.microsoft.com/office/drawing/2014/main" id="{C742B0F9-4228-45AC-8E9C-54442ECD1A32}"/>
              </a:ext>
            </a:extLst>
          </p:cNvPr>
          <p:cNvSpPr/>
          <p:nvPr/>
        </p:nvSpPr>
        <p:spPr>
          <a:xfrm>
            <a:off x="6808763" y="1285914"/>
            <a:ext cx="1062112" cy="4868757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ECACF333-6FA0-4C93-99B5-FBB099F4206F}"/>
              </a:ext>
            </a:extLst>
          </p:cNvPr>
          <p:cNvSpPr/>
          <p:nvPr/>
        </p:nvSpPr>
        <p:spPr>
          <a:xfrm>
            <a:off x="7906866" y="1285914"/>
            <a:ext cx="1062112" cy="4868757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2003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/>
      <p:bldP spid="3" grpId="0"/>
      <p:bldP spid="12" grpId="0"/>
      <p:bldP spid="6" grpId="0" animBg="1"/>
      <p:bldP spid="6" grpId="1" animBg="1"/>
      <p:bldP spid="14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不同分支因子下的表现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8</a:t>
            </a:fld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0E5F891-5DCE-4842-8BE4-69695B9B1E5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703" b="10782"/>
          <a:stretch/>
        </p:blipFill>
        <p:spPr>
          <a:xfrm>
            <a:off x="450824" y="2971328"/>
            <a:ext cx="6971189" cy="367077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ADBA53B4-8582-46D1-A30C-D6E70AA3465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0824" y="1402685"/>
                <a:ext cx="3730344" cy="158725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/>
                  <a:t>设定</a:t>
                </a:r>
                <a:endParaRPr lang="en-US" altLang="zh-CN" dirty="0"/>
              </a:p>
              <a:p>
                <a:pPr lvl="1"/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𝑏</m:t>
                    </m:r>
                  </m:oMath>
                </a14:m>
                <a:r>
                  <a:rPr lang="zh-CN" altLang="en-US" dirty="0"/>
                  <a:t> 个后续状态等可能</a:t>
                </a:r>
                <a:endParaRPr lang="en-US" altLang="zh-CN" dirty="0"/>
              </a:p>
              <a:p>
                <a:pPr lvl="1"/>
                <a:r>
                  <a:rPr lang="zh-CN" altLang="en-US" dirty="0"/>
                  <a:t>初始估计误差为</a:t>
                </a:r>
                <a:r>
                  <a:rPr lang="en-US" altLang="zh-CN" dirty="0"/>
                  <a:t>1</a:t>
                </a:r>
              </a:p>
              <a:p>
                <a:pPr lvl="1"/>
                <a:r>
                  <a:rPr lang="zh-CN" altLang="en-US" dirty="0"/>
                  <a:t>下一个状态值假设估计正确</a:t>
                </a:r>
                <a:endParaRPr lang="en-US" altLang="zh-CN" dirty="0"/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ADBA53B4-8582-46D1-A30C-D6E70AA346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0824" y="1402685"/>
                <a:ext cx="3730344" cy="1587258"/>
              </a:xfrm>
              <a:prstGeom prst="rect">
                <a:avLst/>
              </a:prstGeom>
              <a:blipFill>
                <a:blip r:embed="rId6"/>
                <a:stretch>
                  <a:fillRect l="-980" t="-192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内容占位符 2">
            <a:extLst>
              <a:ext uri="{FF2B5EF4-FFF2-40B4-BE49-F238E27FC236}">
                <a16:creationId xmlns:a16="http://schemas.microsoft.com/office/drawing/2014/main" id="{E3426A0A-B7B5-4A10-808E-A2DAB1E5890D}"/>
              </a:ext>
            </a:extLst>
          </p:cNvPr>
          <p:cNvSpPr txBox="1">
            <a:spLocks/>
          </p:cNvSpPr>
          <p:nvPr/>
        </p:nvSpPr>
        <p:spPr>
          <a:xfrm>
            <a:off x="4688995" y="1402685"/>
            <a:ext cx="3730344" cy="158725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结果</a:t>
            </a:r>
            <a:endParaRPr lang="en-US" altLang="zh-CN" dirty="0"/>
          </a:p>
          <a:p>
            <a:pPr lvl="1"/>
            <a:r>
              <a:rPr lang="zh-CN" altLang="en-US" dirty="0"/>
              <a:t>分支因子越多，采样更新越接近期望更新</a:t>
            </a:r>
            <a:endParaRPr lang="en-US" altLang="zh-CN" dirty="0"/>
          </a:p>
          <a:p>
            <a:pPr lvl="1"/>
            <a:r>
              <a:rPr lang="zh-CN" altLang="en-US" dirty="0"/>
              <a:t>大的随机分支因子和状态数量较多的情况下</a:t>
            </a:r>
            <a:r>
              <a:rPr lang="en-US" altLang="zh-CN" dirty="0"/>
              <a:t>, </a:t>
            </a:r>
            <a:r>
              <a:rPr lang="zh-CN" altLang="en-US" dirty="0"/>
              <a:t>采样更新更好</a:t>
            </a:r>
            <a:endParaRPr lang="en-US" altLang="zh-CN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30633DD0-6E2C-4D12-9DEA-BFFF50797E78}"/>
                  </a:ext>
                </a:extLst>
              </p:cNvPr>
              <p:cNvSpPr txBox="1"/>
              <p:nvPr/>
            </p:nvSpPr>
            <p:spPr>
              <a:xfrm>
                <a:off x="4750699" y="4316224"/>
                <a:ext cx="4751508" cy="3814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400" i="1" dirty="0" smtClean="0">
                          <a:latin typeface="Cambria Math" panose="02040503050406030204" pitchFamily="18" charset="0"/>
                        </a:rPr>
                        <m:t>𝑄</m:t>
                      </m:r>
                      <m:d>
                        <m:d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1400" i="1" dirty="0" err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1400" i="1" dirty="0" err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1400" i="1" dirty="0" err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altLang="zh-CN" sz="1400" i="1" dirty="0" smtClean="0">
                          <a:latin typeface="Cambria Math" panose="02040503050406030204" pitchFamily="18" charset="0"/>
                        </a:rPr>
                        <m:t>←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𝑄</m:t>
                      </m:r>
                      <m:d>
                        <m:dPr>
                          <m:ctrlP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[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sz="1400" i="1" dirty="0">
                          <a:latin typeface="Cambria Math" panose="02040503050406030204" pitchFamily="18" charset="0"/>
                        </a:rPr>
                        <m:t>𝛾</m:t>
                      </m:r>
                      <m:limLow>
                        <m:limLowPr>
                          <m:ctrlPr>
                            <a:rPr lang="en-US" altLang="zh-CN" sz="1400" i="1" dirty="0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 sz="1400" dirty="0"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  <m:lim>
                          <m:sSup>
                            <m:sSupPr>
                              <m:ctrlPr>
                                <a:rPr lang="en-US" altLang="zh-CN" sz="1400" i="1" dirty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1400" i="1" dirty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sz="1400" i="1" dirty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lim>
                      </m:limLow>
                      <m:r>
                        <a:rPr lang="en-US" altLang="zh-CN" sz="1400" i="1" dirty="0">
                          <a:latin typeface="Cambria Math" panose="02040503050406030204" pitchFamily="18" charset="0"/>
                        </a:rPr>
                        <m:t>𝑄</m:t>
                      </m:r>
                      <m:d>
                        <m:dPr>
                          <m:ctrlPr>
                            <a:rPr lang="en-US" altLang="zh-CN" sz="1400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sz="1400" i="1" dirty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1400" i="1" dirty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 sz="1400" i="1" dirty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sz="1400" dirty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altLang="zh-CN" sz="1400" i="1" dirty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1400" i="1" dirty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sz="1400" i="1" dirty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e>
                      </m:d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 −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𝑄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)]</m:t>
                      </m:r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30633DD0-6E2C-4D12-9DEA-BFFF50797E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50699" y="4316224"/>
                <a:ext cx="4751508" cy="38145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文本框 10">
            <a:extLst>
              <a:ext uri="{FF2B5EF4-FFF2-40B4-BE49-F238E27FC236}">
                <a16:creationId xmlns:a16="http://schemas.microsoft.com/office/drawing/2014/main" id="{A1C097B4-F63F-457D-B625-2CDF776D8ED2}"/>
              </a:ext>
            </a:extLst>
          </p:cNvPr>
          <p:cNvSpPr txBox="1"/>
          <p:nvPr/>
        </p:nvSpPr>
        <p:spPr>
          <a:xfrm>
            <a:off x="5316466" y="3121504"/>
            <a:ext cx="11687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期望更新</a:t>
            </a:r>
            <a:endParaRPr lang="en-US" altLang="zh-CN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B662AE60-FDA6-4E28-8548-147C912909B3}"/>
              </a:ext>
            </a:extLst>
          </p:cNvPr>
          <p:cNvSpPr txBox="1"/>
          <p:nvPr/>
        </p:nvSpPr>
        <p:spPr>
          <a:xfrm>
            <a:off x="5316466" y="3954236"/>
            <a:ext cx="11687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采样更新</a:t>
            </a:r>
            <a:endParaRPr lang="en-US" altLang="zh-CN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9D461090-0757-4095-B082-DAB59C5D51BE}"/>
                  </a:ext>
                </a:extLst>
              </p:cNvPr>
              <p:cNvSpPr txBox="1"/>
              <p:nvPr/>
            </p:nvSpPr>
            <p:spPr>
              <a:xfrm>
                <a:off x="4688995" y="3403090"/>
                <a:ext cx="5159827" cy="6388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400" i="1" dirty="0" smtClean="0">
                          <a:latin typeface="Cambria Math" panose="02040503050406030204" pitchFamily="18" charset="0"/>
                        </a:rPr>
                        <m:t>𝑄</m:t>
                      </m:r>
                      <m:d>
                        <m:d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1400" i="1" dirty="0" err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1400" i="1" dirty="0" err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1400" i="1" dirty="0" err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altLang="zh-CN" sz="1400" i="1" dirty="0" smtClean="0">
                          <a:latin typeface="Cambria Math" panose="02040503050406030204" pitchFamily="18" charset="0"/>
                        </a:rPr>
                        <m:t>←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sSup>
                            <m:sSupPr>
                              <m:ctrlP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sub>
                        <m:sup/>
                        <m:e>
                          <m:acc>
                            <m:accPr>
                              <m:chr m:val="̂"/>
                              <m:ctrlP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</m:acc>
                          <m:d>
                            <m:dPr>
                              <m:ctrlP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sz="1400" b="0" i="1" dirty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400" b="0" i="1" dirty="0" smtClean="0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sz="1400" b="0" i="1" dirty="0" smtClean="0">
                                      <a:latin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</m:e>
                            <m:e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d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[</m:t>
                          </m:r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𝑟</m:t>
                          </m:r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𝛾</m:t>
                          </m:r>
                          <m:limLow>
                            <m:limLowPr>
                              <m:ctrlP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sz="1400" b="0" i="0" dirty="0" smtClean="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sSup>
                                <m:sSupPr>
                                  <m:ctrlPr>
                                    <a:rPr lang="en-US" altLang="zh-CN" sz="1400" b="0" i="1" dirty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400" b="0" i="1" dirty="0" smtClean="0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sz="1400" b="0" i="0" dirty="0" smtClean="0">
                                      <a:latin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</m:lim>
                          </m:limLow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𝑄</m:t>
                          </m:r>
                          <m:r>
                            <a:rPr lang="en-US" altLang="zh-CN" sz="1400" b="0" i="0" dirty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p>
                            <m:sSupPr>
                              <m:ctrlP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sz="1400" b="0" i="0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sz="1400" b="0" i="1" dirty="0" smtClean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sz="1400" b="0" i="0" dirty="0" smtClean="0">
                              <a:latin typeface="Cambria Math" panose="02040503050406030204" pitchFamily="18" charset="0"/>
                            </a:rPr>
                            <m:t>)</m:t>
                          </m:r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⁡</m:t>
                          </m:r>
                        </m:e>
                      </m:nary>
                      <m:r>
                        <a:rPr lang="en-US" altLang="zh-CN" sz="1400" b="0" i="1" dirty="0" smtClean="0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9D461090-0757-4095-B082-DAB59C5D51B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88995" y="3403090"/>
                <a:ext cx="5159827" cy="638893"/>
              </a:xfrm>
              <a:prstGeom prst="rect">
                <a:avLst/>
              </a:prstGeom>
              <a:blipFill>
                <a:blip r:embed="rId9"/>
                <a:stretch>
                  <a:fillRect t="-111429" b="-15619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00755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6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9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kumimoji="1" lang="zh-CN" altLang="en-US" dirty="0"/>
              <a:t>轨迹采样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3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353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82094" y="3697515"/>
            <a:ext cx="686894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温故而知新</a:t>
            </a:r>
            <a:r>
              <a:rPr lang="en-US" altLang="zh-CN" sz="24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: </a:t>
            </a:r>
          </a:p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策略评估与策略提升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BED3DF7-FB71-425D-AFE0-12D254584D68}"/>
              </a:ext>
            </a:extLst>
          </p:cNvPr>
          <p:cNvSpPr txBox="1"/>
          <p:nvPr/>
        </p:nvSpPr>
        <p:spPr>
          <a:xfrm>
            <a:off x="2317728" y="5020954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21221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轨迹采样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0</a:t>
            </a:fld>
            <a:endParaRPr lang="zh-CN" altLang="en-US" dirty="0"/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319748"/>
            <a:ext cx="8137922" cy="24098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动态规划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整个状态空间进行遍历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/>
              <a:t>没有侧重实际需要关注的状态上</a:t>
            </a:r>
            <a:endParaRPr lang="en-US" altLang="zh-CN" dirty="0"/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状态空间中按照特定分布采样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/>
              <a:t>根据当前策略下所观测的分布进行采样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3" name="文本占位符 3">
            <a:extLst>
              <a:ext uri="{FF2B5EF4-FFF2-40B4-BE49-F238E27FC236}">
                <a16:creationId xmlns:a16="http://schemas.microsoft.com/office/drawing/2014/main" id="{CA60DADD-0C67-4F41-9E22-2958FB687C1E}"/>
              </a:ext>
            </a:extLst>
          </p:cNvPr>
          <p:cNvSpPr txBox="1">
            <a:spLocks/>
          </p:cNvSpPr>
          <p:nvPr/>
        </p:nvSpPr>
        <p:spPr>
          <a:xfrm>
            <a:off x="502442" y="3850801"/>
            <a:ext cx="1700429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轨迹采样</a:t>
            </a: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BBEC8051-2C24-4F2F-B54C-029FD83AE4C4}"/>
              </a:ext>
            </a:extLst>
          </p:cNvPr>
          <p:cNvSpPr txBox="1">
            <a:spLocks/>
          </p:cNvSpPr>
          <p:nvPr/>
        </p:nvSpPr>
        <p:spPr>
          <a:xfrm>
            <a:off x="681738" y="4765005"/>
            <a:ext cx="8137922" cy="12650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5" name="内容占位符 2">
            <a:extLst>
              <a:ext uri="{FF2B5EF4-FFF2-40B4-BE49-F238E27FC236}">
                <a16:creationId xmlns:a16="http://schemas.microsoft.com/office/drawing/2014/main" id="{3858F0DF-ABE2-4188-B3D3-84D6B9410691}"/>
              </a:ext>
            </a:extLst>
          </p:cNvPr>
          <p:cNvSpPr txBox="1">
            <a:spLocks/>
          </p:cNvSpPr>
          <p:nvPr/>
        </p:nvSpPr>
        <p:spPr>
          <a:xfrm>
            <a:off x="502442" y="4554613"/>
            <a:ext cx="8137922" cy="76983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状态转移和奖励由模型决定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动作由当前的策略决定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9" name="图片 4">
            <a:extLst>
              <a:ext uri="{FF2B5EF4-FFF2-40B4-BE49-F238E27FC236}">
                <a16:creationId xmlns:a16="http://schemas.microsoft.com/office/drawing/2014/main" id="{50CE100A-9BEE-401B-95EA-7D111AEF0E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3098" y="1346432"/>
            <a:ext cx="3104652" cy="1833318"/>
          </a:xfrm>
          <a:prstGeom prst="rect">
            <a:avLst/>
          </a:prstGeom>
        </p:spPr>
      </p:pic>
      <p:pic>
        <p:nvPicPr>
          <p:cNvPr id="10" name="图片 4">
            <a:extLst>
              <a:ext uri="{FF2B5EF4-FFF2-40B4-BE49-F238E27FC236}">
                <a16:creationId xmlns:a16="http://schemas.microsoft.com/office/drawing/2014/main" id="{BF934ECB-B105-4E72-B6DC-0B618D1CD9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17606" y="3839855"/>
            <a:ext cx="3130143" cy="1698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677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轨迹采样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1</a:t>
            </a:fld>
            <a:endParaRPr lang="zh-CN" altLang="en-US" dirty="0"/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938728"/>
            <a:ext cx="8137922" cy="8279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CDCAA332-9D4F-724E-8817-25287613A799}"/>
              </a:ext>
            </a:extLst>
          </p:cNvPr>
          <p:cNvSpPr txBox="1">
            <a:spLocks/>
          </p:cNvSpPr>
          <p:nvPr/>
        </p:nvSpPr>
        <p:spPr>
          <a:xfrm>
            <a:off x="458948" y="1227372"/>
            <a:ext cx="6069808" cy="2490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优点</a:t>
            </a:r>
            <a:endParaRPr lang="en-US" altLang="zh-CN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不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需要知道当前策略下状态的分布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计算量少，</a:t>
            </a:r>
            <a:r>
              <a: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简单有效</a:t>
            </a:r>
            <a:endParaRPr lang="en-US" altLang="zh-CN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缺点</a:t>
            </a:r>
            <a:endParaRPr lang="en-US" altLang="zh-CN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不断重复更新已经被访问的状态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96AC038D-131C-4C5D-A7C0-8E32681BF13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33" r="4724"/>
          <a:stretch/>
        </p:blipFill>
        <p:spPr>
          <a:xfrm>
            <a:off x="681738" y="3253337"/>
            <a:ext cx="4269810" cy="3296747"/>
          </a:xfrm>
          <a:prstGeom prst="rect">
            <a:avLst/>
          </a:prstGeom>
        </p:spPr>
      </p:pic>
      <p:sp>
        <p:nvSpPr>
          <p:cNvPr id="16" name="内容占位符 2">
            <a:extLst>
              <a:ext uri="{FF2B5EF4-FFF2-40B4-BE49-F238E27FC236}">
                <a16:creationId xmlns:a16="http://schemas.microsoft.com/office/drawing/2014/main" id="{8B6B9A1A-C8EB-4747-B7D2-8697EF7F170E}"/>
              </a:ext>
            </a:extLst>
          </p:cNvPr>
          <p:cNvSpPr txBox="1">
            <a:spLocks/>
          </p:cNvSpPr>
          <p:nvPr/>
        </p:nvSpPr>
        <p:spPr>
          <a:xfrm>
            <a:off x="5174338" y="4527640"/>
            <a:ext cx="3397755" cy="74813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不同的分支因子下的表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确定性环境中表现比较好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9" name="图片 4">
            <a:extLst>
              <a:ext uri="{FF2B5EF4-FFF2-40B4-BE49-F238E27FC236}">
                <a16:creationId xmlns:a16="http://schemas.microsoft.com/office/drawing/2014/main" id="{20523109-86DC-48D8-A0B2-E9EEFA7086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17606" y="1503490"/>
            <a:ext cx="3130143" cy="169839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46560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>
            <a:normAutofit/>
          </a:bodyPr>
          <a:lstStyle/>
          <a:p>
            <a:r>
              <a:rPr lang="zh-CN" altLang="en-US" dirty="0"/>
              <a:t>小结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2</a:t>
            </a:fld>
            <a:endParaRPr lang="zh-CN" altLang="en-US" dirty="0"/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EA1CC9F4-F22C-474D-802B-067830FF7434}"/>
              </a:ext>
            </a:extLst>
          </p:cNvPr>
          <p:cNvSpPr txBox="1">
            <a:spLocks/>
          </p:cNvSpPr>
          <p:nvPr/>
        </p:nvSpPr>
        <p:spPr>
          <a:xfrm>
            <a:off x="502441" y="1329128"/>
            <a:ext cx="8387985" cy="52893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优先级采样</a:t>
            </a:r>
            <a:endParaRPr lang="en-US" altLang="zh-CN" sz="2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收敛更快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随机环境使用期望更新，计算量大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sz="2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2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期望更新和采样更新</a:t>
            </a:r>
            <a:endParaRPr lang="en-US" altLang="zh-CN" sz="2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期望更新计算量大但是没有偏差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采样更新计算量小但是存在采样偏差</a:t>
            </a:r>
            <a:endParaRPr lang="en-US" altLang="zh-CN" sz="2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sz="2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2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轨迹采样</a:t>
            </a:r>
            <a:endParaRPr lang="en-US" altLang="zh-CN" sz="2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采样更新，计算量小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不断重复某些访问过的状态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2"/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05293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规划与学习</a:t>
            </a:r>
            <a:r>
              <a:rPr lang="en-US" altLang="zh-CN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: </a:t>
            </a:r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决策时规划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BED3DF7-FB71-425D-AFE0-12D254584D68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45068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4480C692-B31A-0344-BFAA-BF8D473C02A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4</a:t>
            </a:fld>
            <a:endParaRPr lang="zh-CN" altLang="en-US" dirty="0"/>
          </a:p>
        </p:txBody>
      </p:sp>
      <p:sp>
        <p:nvSpPr>
          <p:cNvPr id="11" name="文本占位符 1">
            <a:extLst>
              <a:ext uri="{FF2B5EF4-FFF2-40B4-BE49-F238E27FC236}">
                <a16:creationId xmlns:a16="http://schemas.microsoft.com/office/drawing/2014/main" id="{3296A87F-F951-AE48-9C79-1BD310D192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99300" y="2810639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zh-CN" altLang="en-US" dirty="0"/>
              <a:t>实时动态规划</a:t>
            </a:r>
          </a:p>
        </p:txBody>
      </p:sp>
      <p:sp>
        <p:nvSpPr>
          <p:cNvPr id="12" name="文本占位符 2">
            <a:extLst>
              <a:ext uri="{FF2B5EF4-FFF2-40B4-BE49-F238E27FC236}">
                <a16:creationId xmlns:a16="http://schemas.microsoft.com/office/drawing/2014/main" id="{5724F0BF-53A1-8C4C-AD42-0E17F053D77A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428196" y="2776349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  <p:sp>
        <p:nvSpPr>
          <p:cNvPr id="13" name="文本占位符 3">
            <a:extLst>
              <a:ext uri="{FF2B5EF4-FFF2-40B4-BE49-F238E27FC236}">
                <a16:creationId xmlns:a16="http://schemas.microsoft.com/office/drawing/2014/main" id="{6CFF8168-52EA-4041-999C-A03781529AD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199300" y="3589340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zh-CN" altLang="en-US" dirty="0"/>
              <a:t>决策时规划</a:t>
            </a:r>
          </a:p>
        </p:txBody>
      </p:sp>
      <p:sp>
        <p:nvSpPr>
          <p:cNvPr id="14" name="文本占位符 4">
            <a:extLst>
              <a:ext uri="{FF2B5EF4-FFF2-40B4-BE49-F238E27FC236}">
                <a16:creationId xmlns:a16="http://schemas.microsoft.com/office/drawing/2014/main" id="{3A06AF6E-4CC5-1448-8068-D29DC14654C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428196" y="3555050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57058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45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97015" y="2818892"/>
            <a:ext cx="4190080" cy="1220215"/>
          </a:xfrm>
        </p:spPr>
        <p:txBody>
          <a:bodyPr>
            <a:normAutofit/>
          </a:bodyPr>
          <a:lstStyle/>
          <a:p>
            <a:pPr algn="l"/>
            <a:r>
              <a:rPr kumimoji="1" lang="zh-CN" altLang="en-US" dirty="0"/>
              <a:t>实时动态规划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88874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/>
              <a:t>实时动态规划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6</a:t>
            </a:fld>
            <a:endParaRPr lang="zh-CN" altLang="en-US" dirty="0"/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420715"/>
            <a:ext cx="5379743" cy="44614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和传统动态规划的区别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实时的轨迹采样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只更新轨迹访问的状态值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优势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能够跳过策略无关的状态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解决状态集合规模大的问题上具有优势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满足一定条件下可以以概率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收敛到最优策略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6" name="图片 4">
            <a:extLst>
              <a:ext uri="{FF2B5EF4-FFF2-40B4-BE49-F238E27FC236}">
                <a16:creationId xmlns:a16="http://schemas.microsoft.com/office/drawing/2014/main" id="{870C137E-923E-40DA-AC50-93EA896F41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35713" y="1818132"/>
            <a:ext cx="3104652" cy="1833318"/>
          </a:xfrm>
          <a:prstGeom prst="rect">
            <a:avLst/>
          </a:prstGeom>
        </p:spPr>
      </p:pic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B086A761-6BEC-4F02-AA2B-F58DF510709E}"/>
              </a:ext>
            </a:extLst>
          </p:cNvPr>
          <p:cNvCxnSpPr/>
          <p:nvPr/>
        </p:nvCxnSpPr>
        <p:spPr>
          <a:xfrm flipH="1" flipV="1">
            <a:off x="6457949" y="1651907"/>
            <a:ext cx="576944" cy="340179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椭圆 8">
            <a:extLst>
              <a:ext uri="{FF2B5EF4-FFF2-40B4-BE49-F238E27FC236}">
                <a16:creationId xmlns:a16="http://schemas.microsoft.com/office/drawing/2014/main" id="{88531BCB-0519-406D-9B66-BC1B08442593}"/>
              </a:ext>
            </a:extLst>
          </p:cNvPr>
          <p:cNvSpPr/>
          <p:nvPr/>
        </p:nvSpPr>
        <p:spPr>
          <a:xfrm>
            <a:off x="6398079" y="1603827"/>
            <a:ext cx="58966" cy="58966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5910B4F6-8B52-411C-996A-D7283191623D}"/>
              </a:ext>
            </a:extLst>
          </p:cNvPr>
          <p:cNvCxnSpPr>
            <a:cxnSpLocks/>
          </p:cNvCxnSpPr>
          <p:nvPr/>
        </p:nvCxnSpPr>
        <p:spPr>
          <a:xfrm flipH="1" flipV="1">
            <a:off x="6115049" y="1226865"/>
            <a:ext cx="288472" cy="38422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椭圆 11">
            <a:extLst>
              <a:ext uri="{FF2B5EF4-FFF2-40B4-BE49-F238E27FC236}">
                <a16:creationId xmlns:a16="http://schemas.microsoft.com/office/drawing/2014/main" id="{EDB3B5F4-3FDB-413E-A192-1A0CE2C79AE3}"/>
              </a:ext>
            </a:extLst>
          </p:cNvPr>
          <p:cNvSpPr/>
          <p:nvPr/>
        </p:nvSpPr>
        <p:spPr>
          <a:xfrm>
            <a:off x="6076950" y="1187448"/>
            <a:ext cx="58966" cy="5896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0788861F-740C-4A25-A43C-A9CB1049E6C1}"/>
              </a:ext>
            </a:extLst>
          </p:cNvPr>
          <p:cNvCxnSpPr>
            <a:cxnSpLocks/>
          </p:cNvCxnSpPr>
          <p:nvPr/>
        </p:nvCxnSpPr>
        <p:spPr>
          <a:xfrm flipV="1">
            <a:off x="5780314" y="1647872"/>
            <a:ext cx="615545" cy="34017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5" name="椭圆 14">
            <a:extLst>
              <a:ext uri="{FF2B5EF4-FFF2-40B4-BE49-F238E27FC236}">
                <a16:creationId xmlns:a16="http://schemas.microsoft.com/office/drawing/2014/main" id="{D228C6D2-4411-46D2-9C55-F34868DA8414}"/>
              </a:ext>
            </a:extLst>
          </p:cNvPr>
          <p:cNvSpPr/>
          <p:nvPr/>
        </p:nvSpPr>
        <p:spPr>
          <a:xfrm>
            <a:off x="5757636" y="1960333"/>
            <a:ext cx="58966" cy="58966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032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实时动态规划</a:t>
            </a:r>
            <a:r>
              <a:rPr lang="en-US" altLang="zh-CN" dirty="0"/>
              <a:t>(</a:t>
            </a:r>
            <a:r>
              <a:rPr lang="en-US" altLang="zh-CN" dirty="0">
                <a:solidFill>
                  <a:schemeClr val="accent1"/>
                </a:solidFill>
              </a:rPr>
              <a:t>RTDP</a:t>
            </a:r>
            <a:r>
              <a:rPr lang="en-US" altLang="zh-CN" dirty="0"/>
              <a:t>)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7</a:t>
            </a:fld>
            <a:endParaRPr lang="zh-CN" altLang="en-US" dirty="0"/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3" y="1444657"/>
            <a:ext cx="3619181" cy="41009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跑道问题（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acetrack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环境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: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任务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: 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从起点跑到终点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状态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: 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二维坐标、二维速度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动作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: 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每维速度的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+1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，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-1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，不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结果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: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可到达状态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:</a:t>
            </a:r>
          </a:p>
          <a:p>
            <a:pPr lvl="2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随机策略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: 9115</a:t>
            </a:r>
          </a:p>
          <a:p>
            <a:pPr lvl="2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最优策略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: 599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更新次数少了一半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F6BC0E6-2BC3-423B-9DA8-9F18E785DAA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528"/>
          <a:stretch/>
        </p:blipFill>
        <p:spPr>
          <a:xfrm>
            <a:off x="3171828" y="4715683"/>
            <a:ext cx="5512888" cy="1476363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F8048EDE-FC1F-421A-8EF5-192B60608AAE}"/>
              </a:ext>
            </a:extLst>
          </p:cNvPr>
          <p:cNvSpPr/>
          <p:nvPr/>
        </p:nvSpPr>
        <p:spPr>
          <a:xfrm>
            <a:off x="215900" y="6491514"/>
            <a:ext cx="685577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dirty="0">
                <a:hlinkClick r:id="rId3"/>
              </a:rPr>
              <a:t>https://towardsdatascience.com/solving-racetrack-in-reinforcement-learning-using-monte-carlo-control-bdee2aa4f04e</a:t>
            </a:r>
            <a:endParaRPr lang="zh-CN" altLang="en-US" sz="1000" dirty="0"/>
          </a:p>
        </p:txBody>
      </p:sp>
      <p:pic>
        <p:nvPicPr>
          <p:cNvPr id="9" name="图片 8" descr="图表, 条形图&#10;&#10;描述已自动生成">
            <a:extLst>
              <a:ext uri="{FF2B5EF4-FFF2-40B4-BE49-F238E27FC236}">
                <a16:creationId xmlns:a16="http://schemas.microsoft.com/office/drawing/2014/main" id="{33796D51-2EDA-433E-B7B9-403F824E13A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946" y="987608"/>
            <a:ext cx="3203054" cy="3727693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142007C4-9683-447C-BEDB-00D314AE2BA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556" t="7691"/>
          <a:stretch/>
        </p:blipFill>
        <p:spPr>
          <a:xfrm>
            <a:off x="4121624" y="1295537"/>
            <a:ext cx="2099177" cy="3364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601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48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kumimoji="1" lang="zh-CN" altLang="en-US" dirty="0"/>
              <a:t>决策时规划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42803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决策时规划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9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383054"/>
                <a:ext cx="8137922" cy="351979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背景规划（</a:t>
                </a: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Background Planning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规划是为了更新很多状态值供后续动作的选择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动态规划，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𝐷𝑦𝑛𝑎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决策时规划（</a:t>
                </a: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Decision-time Planning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规划只着眼于当前状态的动作选择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不需要快速反应的应用中很有效，如棋类游戏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383054"/>
                <a:ext cx="8137922" cy="3519792"/>
              </a:xfrm>
              <a:prstGeom prst="rect">
                <a:avLst/>
              </a:prstGeom>
              <a:blipFill>
                <a:blip r:embed="rId5"/>
                <a:stretch>
                  <a:fillRect l="-449" t="-104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41882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策略值函数估计（</a:t>
            </a:r>
            <a:r>
              <a:rPr lang="en-US" altLang="zh-CN" dirty="0"/>
              <a:t>Policy Evaluation</a:t>
            </a:r>
            <a:r>
              <a:rPr lang="zh-CN" altLang="en-US" dirty="0"/>
              <a:t>）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1209707"/>
                <a:ext cx="7846442" cy="102869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给定环境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DP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策略值函数估计如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1209707"/>
                <a:ext cx="7846442" cy="1028699"/>
              </a:xfrm>
              <a:prstGeom prst="rect">
                <a:avLst/>
              </a:prstGeom>
              <a:blipFill>
                <a:blip r:embed="rId3"/>
                <a:stretch>
                  <a:fillRect l="-46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16969058-8031-46FE-8CB6-F2DB8177B703}"/>
                  </a:ext>
                </a:extLst>
              </p:cNvPr>
              <p:cNvSpPr txBox="1"/>
              <p:nvPr/>
            </p:nvSpPr>
            <p:spPr>
              <a:xfrm>
                <a:off x="2054326" y="2480731"/>
                <a:ext cx="4572000" cy="97270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~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𝑅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𝛾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∈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𝑆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</m:d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</m:e>
                          </m:nary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16969058-8031-46FE-8CB6-F2DB8177B7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54326" y="2480731"/>
                <a:ext cx="4572000" cy="97270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B28B009D-0D5F-43BD-B603-FE9DFD01AD5D}"/>
                  </a:ext>
                </a:extLst>
              </p:cNvPr>
              <p:cNvSpPr txBox="1"/>
              <p:nvPr/>
            </p:nvSpPr>
            <p:spPr>
              <a:xfrm>
                <a:off x="1187355" y="2023410"/>
                <a:ext cx="6871648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𝔼</m:t>
                      </m:r>
                      <m:d>
                        <m:dPr>
                          <m:begChr m:val="["/>
                          <m:endChr m:val="]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𝑅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0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0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𝛾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𝑅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𝑅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…</m:t>
                          </m:r>
                        </m:e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0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B28B009D-0D5F-43BD-B603-FE9DFD01AD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87355" y="2023410"/>
                <a:ext cx="6871648" cy="369332"/>
              </a:xfrm>
              <a:prstGeom prst="rect">
                <a:avLst/>
              </a:prstGeom>
              <a:blipFill>
                <a:blip r:embed="rId5"/>
                <a:stretch>
                  <a:fillRect b="-983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9549A59A-2C4D-4305-9CE8-3275D439F754}"/>
                  </a:ext>
                </a:extLst>
              </p:cNvPr>
              <p:cNvSpPr txBox="1"/>
              <p:nvPr/>
            </p:nvSpPr>
            <p:spPr>
              <a:xfrm>
                <a:off x="1723716" y="3500280"/>
                <a:ext cx="2872854" cy="3888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zh-CN" altLang="en-US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~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[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𝑎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]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9549A59A-2C4D-4305-9CE8-3275D439F7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3716" y="3500280"/>
                <a:ext cx="2872854" cy="388889"/>
              </a:xfrm>
              <a:prstGeom prst="rect">
                <a:avLst/>
              </a:prstGeom>
              <a:blipFill>
                <a:blip r:embed="rId6"/>
                <a:stretch>
                  <a:fillRect b="-1093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654B7D04-8101-4D40-8DBE-A0E7A306A2C9}"/>
                  </a:ext>
                </a:extLst>
              </p:cNvPr>
              <p:cNvSpPr txBox="1"/>
              <p:nvPr/>
            </p:nvSpPr>
            <p:spPr>
              <a:xfrm>
                <a:off x="1598103" y="5159754"/>
                <a:ext cx="4572000" cy="7740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𝑅</m:t>
                      </m:r>
                      <m:d>
                        <m:d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</m:d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𝛾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sSup>
                            <m:sSup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∈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𝑆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  <m:d>
                                <m:dPr>
                                  <m:ctrlP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sub>
                          </m:sSub>
                          <m:d>
                            <m:d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e>
                          </m:d>
                          <m:sSup>
                            <m:sSup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sz="18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e>
                          </m:d>
                        </m:e>
                      </m:nary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654B7D04-8101-4D40-8DBE-A0E7A306A2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98103" y="5159754"/>
                <a:ext cx="4572000" cy="77405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6C55DCFD-4CC3-4248-AEC7-0EE545169DC1}"/>
                  </a:ext>
                </a:extLst>
              </p:cNvPr>
              <p:cNvSpPr txBox="1"/>
              <p:nvPr/>
            </p:nvSpPr>
            <p:spPr>
              <a:xfrm>
                <a:off x="1091380" y="4627375"/>
                <a:ext cx="7594056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p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</m:d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𝔼</m:t>
                      </m:r>
                      <m:d>
                        <m:dPr>
                          <m:begChr m:val="["/>
                          <m:endChr m:val="]"/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𝑅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0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0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𝛾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𝑅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𝑅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…</m:t>
                          </m:r>
                        </m:e>
                        <m:e>
                          <m:sSub>
                            <m:sSub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0</m:t>
                              </m:r>
                            </m:sub>
                          </m:sSub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0</m:t>
                              </m:r>
                            </m:sub>
                          </m:sSub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 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6C55DCFD-4CC3-4248-AEC7-0EE545169D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1380" y="4627375"/>
                <a:ext cx="7594056" cy="369332"/>
              </a:xfrm>
              <a:prstGeom prst="rect">
                <a:avLst/>
              </a:prstGeom>
              <a:blipFill>
                <a:blip r:embed="rId8"/>
                <a:stretch>
                  <a:fillRect b="-1147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76842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启发式搜索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0</a:t>
            </a:fld>
            <a:endParaRPr lang="zh-CN" altLang="en-US" dirty="0"/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502631"/>
            <a:ext cx="8137922" cy="16556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访问到当前状态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根节点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)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，对后续可能的情况进行树结构展开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叶节点代表估计的值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回溯到当前状态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根节点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)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，方式类似于值函数的更新方式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AB360C91-D32B-4010-B0F5-5EEB5DE19FD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558" t="5261" r="8778" b="3730"/>
          <a:stretch/>
        </p:blipFill>
        <p:spPr>
          <a:xfrm>
            <a:off x="1494456" y="2964421"/>
            <a:ext cx="6153894" cy="3276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242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启发式搜索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1</a:t>
            </a:fld>
            <a:endParaRPr lang="zh-CN" altLang="en-US" dirty="0"/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1" y="1465029"/>
            <a:ext cx="8137922" cy="2155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决策时规划，着重于当前状态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贪婪策略在单步情况下的扩展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启发式搜索看多步规划下，当前状态的最优行动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搜索越深，计算量越大，得到的动作越接近最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性能提升不是源于多步更新，而是源于专注当前状态的后续可能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48192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Rollout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2</a:t>
            </a:fld>
            <a:endParaRPr lang="zh-CN" altLang="en-US" dirty="0"/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399174"/>
            <a:ext cx="8137922" cy="14902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从当前状态进行模拟的蒙特卡洛估计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选取最高估计值的动作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下一个状态重复上述步骤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1" name="文本占位符 3">
            <a:extLst>
              <a:ext uri="{FF2B5EF4-FFF2-40B4-BE49-F238E27FC236}">
                <a16:creationId xmlns:a16="http://schemas.microsoft.com/office/drawing/2014/main" id="{3E0A4D71-7302-014E-981B-BBFD3BC9D146}"/>
              </a:ext>
            </a:extLst>
          </p:cNvPr>
          <p:cNvSpPr txBox="1">
            <a:spLocks/>
          </p:cNvSpPr>
          <p:nvPr/>
        </p:nvSpPr>
        <p:spPr>
          <a:xfrm>
            <a:off x="502442" y="3532652"/>
            <a:ext cx="1024014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特点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04611A04-B48B-5E41-9042-070CFE5ECFE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4092852"/>
                <a:ext cx="6582237" cy="1654805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决策时规划，从当前状态进行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𝑟𝑜𝑙𝑙𝑜𝑢𝑡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直接目的类似于策略迭代和改进，寻找更优的策略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表现取决于蒙特卡洛方法估值的准确性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04611A04-B48B-5E41-9042-070CFE5ECFE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092852"/>
                <a:ext cx="6582237" cy="1654805"/>
              </a:xfrm>
              <a:prstGeom prst="rect">
                <a:avLst/>
              </a:prstGeom>
              <a:blipFill>
                <a:blip r:embed="rId6"/>
                <a:stretch>
                  <a:fillRect l="-556" t="-147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49602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Rollout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3</a:t>
            </a:fld>
            <a:endParaRPr lang="zh-CN" altLang="en-US" dirty="0"/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BA8BB5BE-7181-BE46-AD89-DA62294A69F2}"/>
              </a:ext>
            </a:extLst>
          </p:cNvPr>
          <p:cNvSpPr txBox="1">
            <a:spLocks/>
          </p:cNvSpPr>
          <p:nvPr/>
        </p:nvSpPr>
        <p:spPr>
          <a:xfrm>
            <a:off x="502444" y="1374739"/>
            <a:ext cx="1739311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时间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复杂度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938727"/>
                <a:ext cx="8137922" cy="190771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92500" lnSpcReduction="1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14:m>
                  <m:oMath xmlns:m="http://schemas.openxmlformats.org/officeDocument/2006/math">
                    <m:r>
                      <a:rPr lang="en-US" altLang="zh-CN" i="1" smtClean="0">
                        <a:latin typeface="Cambria Math" panose="02040503050406030204" pitchFamily="18" charset="0"/>
                      </a:rPr>
                      <m:t>𝑇𝑖𝑚𝑒</m:t>
                    </m:r>
                    <m:r>
                      <a:rPr lang="en-US" altLang="zh-CN" i="1" smtClean="0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𝑡𝑟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altLang="zh-CN" i="1" smtClean="0">
                            <a:latin typeface="Cambria Math" panose="02040503050406030204" pitchFamily="18" charset="0"/>
                          </a:rPr>
                          <m:t>𝑁</m:t>
                        </m:r>
                      </m:sup>
                      <m:e>
                        <m:nary>
                          <m:naryPr>
                            <m:chr m:val="∑"/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23"/>
                              </m:rPr>
                              <a:rPr lang="en-US" altLang="zh-CN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sup>
                          <m:e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zh-CN" i="1" kern="10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nary>
                                  <m:naryPr>
                                    <m:chr m:val="∑"/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</a:rPr>
                                    </m:ctrlPr>
                                  </m:naryPr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</a:rPr>
                                      <m:t>=1</m:t>
                                    </m:r>
                                  </m:sub>
                                  <m:sup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</a:rPr>
                                      <m:t>𝐴</m:t>
                                    </m:r>
                                  </m:sup>
                                  <m:e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</a:rPr>
                                          <m:t>𝑇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</a:rPr>
                                          <m:t>𝑒𝑣𝑎𝑙</m:t>
                                        </m:r>
                                      </m:sub>
                                    </m:sSub>
                                    <m:d>
                                      <m:d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</a:rPr>
                                          <m:t>𝑆</m:t>
                                        </m:r>
                                        <m:d>
                                          <m:dPr>
                                            <m:ctrlP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en-US" altLang="zh-CN" i="1">
                                                <a:latin typeface="Cambria Math" panose="02040503050406030204" pitchFamily="18" charset="0"/>
                                              </a:rPr>
                                              <m:t>𝑠𝑡</m:t>
                                            </m:r>
                                          </m:e>
                                        </m:d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</a:rPr>
                                          <m:t>,</m:t>
                                        </m:r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</a:rPr>
                                          <m:t>𝑎</m:t>
                                        </m:r>
                                      </m:e>
                                    </m:d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</a:rPr>
                                          <m:t>𝑇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</a:rPr>
                                          <m:t>𝑐h𝑜𝑜𝑠𝑒</m:t>
                                        </m:r>
                                      </m:sub>
                                    </m:sSub>
                                    <m:d>
                                      <m:d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</a:rPr>
                                          <m:t>𝐴</m:t>
                                        </m:r>
                                      </m:e>
                                    </m:d>
                                  </m:e>
                                </m:nary>
                              </m:e>
                            </m:d>
                          </m:e>
                        </m:nary>
                      </m:e>
                    </m:nary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: 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决策的动作空间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𝐾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: 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𝑟𝑜𝑙𝑙𝑜𝑢𝑡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一个轨迹的平均步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𝑒𝑣𝑎𝑙</m:t>
                        </m:r>
                      </m:sub>
                    </m:sSub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𝑆</m:t>
                        </m:r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𝑠𝑡</m:t>
                            </m:r>
                          </m:e>
                        </m:d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第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𝑡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步下，估计</a:t>
                </a:r>
                <a14:m>
                  <m:oMath xmlns:m="http://schemas.openxmlformats.org/officeDocument/2006/math">
                    <m:r>
                      <a:rPr lang="en-US" altLang="zh-CN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值函数的时间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𝑐h𝑜𝑜𝑠𝑒</m:t>
                        </m:r>
                      </m:sub>
                    </m:sSub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: </m:t>
                    </m:r>
                    <m:r>
                      <a:rPr lang="en-US" altLang="zh-CN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𝑟𝑜𝑙𝑙𝑜𝑢𝑡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每步做出决策的时间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𝑁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: 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𝑟𝑜𝑙𝑙𝑜𝑢𝑡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轨迹的次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938727"/>
                <a:ext cx="8137922" cy="1907719"/>
              </a:xfrm>
              <a:prstGeom prst="rect">
                <a:avLst/>
              </a:prstGeom>
              <a:blipFill>
                <a:blip r:embed="rId5"/>
                <a:stretch>
                  <a:fillRect l="-300" t="-22684" b="-415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文本占位符 3">
            <a:extLst>
              <a:ext uri="{FF2B5EF4-FFF2-40B4-BE49-F238E27FC236}">
                <a16:creationId xmlns:a16="http://schemas.microsoft.com/office/drawing/2014/main" id="{3E0A4D71-7302-014E-981B-BBFD3BC9D146}"/>
              </a:ext>
            </a:extLst>
          </p:cNvPr>
          <p:cNvSpPr txBox="1">
            <a:spLocks/>
          </p:cNvSpPr>
          <p:nvPr/>
        </p:nvSpPr>
        <p:spPr>
          <a:xfrm>
            <a:off x="502444" y="3974534"/>
            <a:ext cx="3116736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Rollout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算法的加速方法</a:t>
            </a:r>
          </a:p>
        </p:txBody>
      </p:sp>
      <p:sp>
        <p:nvSpPr>
          <p:cNvPr id="12" name="内容占位符 2">
            <a:extLst>
              <a:ext uri="{FF2B5EF4-FFF2-40B4-BE49-F238E27FC236}">
                <a16:creationId xmlns:a16="http://schemas.microsoft.com/office/drawing/2014/main" id="{04611A04-B48B-5E41-9042-070CFE5ECFE3}"/>
              </a:ext>
            </a:extLst>
          </p:cNvPr>
          <p:cNvSpPr txBox="1">
            <a:spLocks/>
          </p:cNvSpPr>
          <p:nvPr/>
        </p:nvSpPr>
        <p:spPr>
          <a:xfrm>
            <a:off x="502442" y="4538524"/>
            <a:ext cx="6582237" cy="16548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多个处理器并行采样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轨迹截断，用存储的值估计代替回报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剔除不可能成为最佳动作的动作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FAD2E340-E71C-4BDB-9AE9-6D11A52DB619}"/>
              </a:ext>
            </a:extLst>
          </p:cNvPr>
          <p:cNvSpPr/>
          <p:nvPr/>
        </p:nvSpPr>
        <p:spPr>
          <a:xfrm>
            <a:off x="5410200" y="4431836"/>
            <a:ext cx="2978150" cy="934090"/>
          </a:xfrm>
          <a:custGeom>
            <a:avLst/>
            <a:gdLst>
              <a:gd name="connsiteX0" fmla="*/ 0 w 2978150"/>
              <a:gd name="connsiteY0" fmla="*/ 553829 h 934090"/>
              <a:gd name="connsiteX1" fmla="*/ 977900 w 2978150"/>
              <a:gd name="connsiteY1" fmla="*/ 7729 h 934090"/>
              <a:gd name="connsiteX2" fmla="*/ 1701800 w 2978150"/>
              <a:gd name="connsiteY2" fmla="*/ 915779 h 934090"/>
              <a:gd name="connsiteX3" fmla="*/ 2978150 w 2978150"/>
              <a:gd name="connsiteY3" fmla="*/ 528429 h 934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78150" h="934090">
                <a:moveTo>
                  <a:pt x="0" y="553829"/>
                </a:moveTo>
                <a:cubicBezTo>
                  <a:pt x="347133" y="250616"/>
                  <a:pt x="694267" y="-52596"/>
                  <a:pt x="977900" y="7729"/>
                </a:cubicBezTo>
                <a:cubicBezTo>
                  <a:pt x="1261533" y="68054"/>
                  <a:pt x="1368425" y="828996"/>
                  <a:pt x="1701800" y="915779"/>
                </a:cubicBezTo>
                <a:cubicBezTo>
                  <a:pt x="2035175" y="1002562"/>
                  <a:pt x="2506662" y="765495"/>
                  <a:pt x="2978150" y="528429"/>
                </a:cubicBezTo>
              </a:path>
            </a:pathLst>
          </a:cu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98E25516-6882-440C-9C17-DD671FDBE788}"/>
              </a:ext>
            </a:extLst>
          </p:cNvPr>
          <p:cNvCxnSpPr>
            <a:cxnSpLocks/>
          </p:cNvCxnSpPr>
          <p:nvPr/>
        </p:nvCxnSpPr>
        <p:spPr>
          <a:xfrm>
            <a:off x="7366000" y="4355129"/>
            <a:ext cx="0" cy="1695450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A908F586-6E12-40B7-96CB-B2057806881F}"/>
              </a:ext>
            </a:extLst>
          </p:cNvPr>
          <p:cNvCxnSpPr>
            <a:cxnSpLocks/>
          </p:cNvCxnSpPr>
          <p:nvPr/>
        </p:nvCxnSpPr>
        <p:spPr>
          <a:xfrm flipH="1">
            <a:off x="7416800" y="4525930"/>
            <a:ext cx="527050" cy="7826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4368FCAA-60D3-48C9-875B-8316743B8648}"/>
                  </a:ext>
                </a:extLst>
              </p:cNvPr>
              <p:cNvSpPr txBox="1"/>
              <p:nvPr/>
            </p:nvSpPr>
            <p:spPr>
              <a:xfrm>
                <a:off x="7714764" y="4170463"/>
                <a:ext cx="110489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𝑄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𝑆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𝑎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4368FCAA-60D3-48C9-875B-8316743B86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14764" y="4170463"/>
                <a:ext cx="1104896" cy="369332"/>
              </a:xfrm>
              <a:prstGeom prst="rect">
                <a:avLst/>
              </a:prstGeom>
              <a:blipFill>
                <a:blip r:embed="rId6"/>
                <a:stretch>
                  <a:fillRect b="-1311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EE3B4038-EB21-4068-8968-AFA24DCE2D14}"/>
                  </a:ext>
                </a:extLst>
              </p:cNvPr>
              <p:cNvSpPr txBox="1"/>
              <p:nvPr/>
            </p:nvSpPr>
            <p:spPr>
              <a:xfrm>
                <a:off x="6707817" y="5410295"/>
                <a:ext cx="110489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𝑆</m:t>
                      </m:r>
                    </m:oMath>
                  </m:oMathPara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EE3B4038-EB21-4068-8968-AFA24DCE2D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07817" y="5410295"/>
                <a:ext cx="1104896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3248847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  <p:bldP spid="16" grpId="0" animBg="1"/>
      <p:bldP spid="23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蒙特卡洛树搜索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4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1252929"/>
                <a:ext cx="3327187" cy="533894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42900" indent="-342900">
                  <a:buFont typeface="+mj-lt"/>
                  <a:buAutoNum type="arabicPeriod"/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选择</a:t>
                </a:r>
                <a:r>
                  <a:rPr lang="en-US" altLang="zh-CN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: </a:t>
                </a: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根据树策略</a:t>
                </a:r>
                <a:r>
                  <a:rPr lang="en-US" altLang="zh-CN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</a:t>
                </a: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动作值函数</a:t>
                </a:r>
                <a:r>
                  <a:rPr lang="en-US" altLang="zh-CN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遍历树到一个叶节点</a:t>
                </a: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扩展</a:t>
                </a:r>
                <a:r>
                  <a:rPr lang="en-US" altLang="zh-CN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: </a:t>
                </a: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从选择的叶节点出发选择未探索过的动作到达新的状态</a:t>
                </a: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模拟</a:t>
                </a:r>
                <a:r>
                  <a:rPr lang="en-US" altLang="zh-CN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: </a:t>
                </a: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从新的状态出发按照</a:t>
                </a:r>
                <a14:m>
                  <m:oMath xmlns:m="http://schemas.openxmlformats.org/officeDocument/2006/math">
                    <m:r>
                      <a:rPr lang="en-US" altLang="zh-CN" sz="1600" b="0" i="0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𝑟𝑜𝑙𝑙𝑜𝑢𝑡</m:t>
                    </m:r>
                    <m:r>
                      <a:rPr lang="en-US" altLang="zh-CN" sz="1600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进行轨迹模拟</a:t>
                </a: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回溯</a:t>
                </a:r>
                <a:r>
                  <a:rPr lang="en-US" altLang="zh-CN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: </a:t>
                </a: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得到的回报回溯更新树策略</a:t>
                </a:r>
                <a:r>
                  <a:rPr lang="en-US" altLang="zh-CN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, </a:t>
                </a:r>
                <a14:m>
                  <m:oMath xmlns:m="http://schemas.openxmlformats.org/officeDocument/2006/math"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𝑟𝑜𝑙𝑙𝑜𝑢𝑡</m:t>
                    </m:r>
                    <m:r>
                      <a:rPr lang="en-US" altLang="zh-CN" sz="1600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访问的状态值不会被保存</a:t>
                </a: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重复上述步骤直至计算资源耗尽，从根节点选择最优动作</a:t>
                </a: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得到新状态</a:t>
                </a:r>
                <a:r>
                  <a:rPr lang="en-US" altLang="zh-CN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, </a:t>
                </a: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保留原有树的新状态下的部分节点</a:t>
                </a: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重复上述步骤直至游戏结束</a:t>
                </a: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1252929"/>
                <a:ext cx="3327187" cy="5338940"/>
              </a:xfrm>
              <a:prstGeom prst="rect">
                <a:avLst/>
              </a:prstGeom>
              <a:blipFill>
                <a:blip r:embed="rId5"/>
                <a:stretch>
                  <a:fillRect l="-916" t="-34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箭头: 左弧形 5">
            <a:extLst>
              <a:ext uri="{FF2B5EF4-FFF2-40B4-BE49-F238E27FC236}">
                <a16:creationId xmlns:a16="http://schemas.microsoft.com/office/drawing/2014/main" id="{1471BA5E-DA7D-4906-8628-BCA123732750}"/>
              </a:ext>
            </a:extLst>
          </p:cNvPr>
          <p:cNvSpPr/>
          <p:nvPr/>
        </p:nvSpPr>
        <p:spPr>
          <a:xfrm flipV="1">
            <a:off x="253606" y="1353565"/>
            <a:ext cx="220553" cy="2822650"/>
          </a:xfrm>
          <a:prstGeom prst="curvedRightArrow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0000"/>
              </a:solidFill>
            </a:endParaRPr>
          </a:p>
        </p:txBody>
      </p:sp>
      <p:sp>
        <p:nvSpPr>
          <p:cNvPr id="15" name="箭头: 左弧形 14">
            <a:extLst>
              <a:ext uri="{FF2B5EF4-FFF2-40B4-BE49-F238E27FC236}">
                <a16:creationId xmlns:a16="http://schemas.microsoft.com/office/drawing/2014/main" id="{419C48CF-1A27-4AFA-A917-A9C122BB8870}"/>
              </a:ext>
            </a:extLst>
          </p:cNvPr>
          <p:cNvSpPr/>
          <p:nvPr/>
        </p:nvSpPr>
        <p:spPr>
          <a:xfrm flipV="1">
            <a:off x="42262" y="1252927"/>
            <a:ext cx="395728" cy="4172057"/>
          </a:xfrm>
          <a:prstGeom prst="curvedRightArrow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accent1"/>
              </a:solidFill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967AC7FD-427A-48AC-91C8-1784431BCDA3}"/>
              </a:ext>
            </a:extLst>
          </p:cNvPr>
          <p:cNvGrpSpPr/>
          <p:nvPr/>
        </p:nvGrpSpPr>
        <p:grpSpPr>
          <a:xfrm>
            <a:off x="3851629" y="1674429"/>
            <a:ext cx="5212640" cy="3494966"/>
            <a:chOff x="3765177" y="4124612"/>
            <a:chExt cx="3876114" cy="2598853"/>
          </a:xfrm>
        </p:grpSpPr>
        <p:pic>
          <p:nvPicPr>
            <p:cNvPr id="3" name="图片 2">
              <a:extLst>
                <a:ext uri="{FF2B5EF4-FFF2-40B4-BE49-F238E27FC236}">
                  <a16:creationId xmlns:a16="http://schemas.microsoft.com/office/drawing/2014/main" id="{1CE5BFFF-6C85-4AAA-AE5D-8063B900EB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5568" r="2450" b="2718"/>
            <a:stretch/>
          </p:blipFill>
          <p:spPr>
            <a:xfrm>
              <a:off x="3765177" y="4124612"/>
              <a:ext cx="3876114" cy="2598853"/>
            </a:xfrm>
            <a:prstGeom prst="rect">
              <a:avLst/>
            </a:prstGeom>
          </p:spPr>
        </p:pic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6F2BA539-68CA-4527-91D2-DFE0E9973081}"/>
                </a:ext>
              </a:extLst>
            </p:cNvPr>
            <p:cNvSpPr/>
            <p:nvPr/>
          </p:nvSpPr>
          <p:spPr>
            <a:xfrm>
              <a:off x="3888260" y="4192054"/>
              <a:ext cx="862439" cy="2531411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F97B4247-85B6-4867-96F9-96C50181EFE6}"/>
                </a:ext>
              </a:extLst>
            </p:cNvPr>
            <p:cNvSpPr/>
            <p:nvPr/>
          </p:nvSpPr>
          <p:spPr>
            <a:xfrm>
              <a:off x="4777594" y="4192054"/>
              <a:ext cx="862439" cy="2531411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0C92E343-71EA-4B75-B76F-4F51E822B87E}"/>
                </a:ext>
              </a:extLst>
            </p:cNvPr>
            <p:cNvSpPr/>
            <p:nvPr/>
          </p:nvSpPr>
          <p:spPr>
            <a:xfrm>
              <a:off x="5666928" y="4192054"/>
              <a:ext cx="862439" cy="2531411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55B35FF0-A448-48B3-B4C4-DF59C84B3FCA}"/>
                </a:ext>
              </a:extLst>
            </p:cNvPr>
            <p:cNvSpPr/>
            <p:nvPr/>
          </p:nvSpPr>
          <p:spPr>
            <a:xfrm>
              <a:off x="6593818" y="4192052"/>
              <a:ext cx="862439" cy="2531411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79667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蒙特卡洛树搜索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5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457227"/>
                <a:ext cx="8387985" cy="200759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蒙特卡洛控制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+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决策时规划（类似于</a:t>
                </a:r>
                <a14:m>
                  <m:oMath xmlns:m="http://schemas.openxmlformats.org/officeDocument/2006/math">
                    <m:r>
                      <a:rPr lang="en-US" altLang="zh-CN" b="0" i="0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𝑟𝑜𝑙𝑙𝑜𝑢𝑡</m:t>
                    </m:r>
                    <m:r>
                      <a:rPr lang="zh-CN" altLang="en-US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）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保留了过去一部分的经验数据。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下一个状态树的初始树是上一个状态树具有高回报的部分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457227"/>
                <a:ext cx="8387985" cy="2007591"/>
              </a:xfrm>
              <a:prstGeom prst="rect">
                <a:avLst/>
              </a:prstGeom>
              <a:blipFill>
                <a:blip r:embed="rId6"/>
                <a:stretch>
                  <a:fillRect l="-436" t="-121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文本占位符 3">
            <a:extLst>
              <a:ext uri="{FF2B5EF4-FFF2-40B4-BE49-F238E27FC236}">
                <a16:creationId xmlns:a16="http://schemas.microsoft.com/office/drawing/2014/main" id="{850D2DD1-FD1D-4469-8D19-11B7E77B3283}"/>
              </a:ext>
            </a:extLst>
          </p:cNvPr>
          <p:cNvSpPr txBox="1">
            <a:spLocks/>
          </p:cNvSpPr>
          <p:nvPr/>
        </p:nvSpPr>
        <p:spPr>
          <a:xfrm>
            <a:off x="502444" y="3528862"/>
            <a:ext cx="1075634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应用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内容占位符 2">
                <a:extLst>
                  <a:ext uri="{FF2B5EF4-FFF2-40B4-BE49-F238E27FC236}">
                    <a16:creationId xmlns:a16="http://schemas.microsoft.com/office/drawing/2014/main" id="{C20F4C72-00A6-4AF6-A767-2A98DE56665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4092852"/>
                <a:ext cx="6582237" cy="1654805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AlphaGo</a:t>
                </a:r>
              </a:p>
              <a:p>
                <a:pPr lvl="1"/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16</m:t>
                    </m:r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年五番棋比赛中 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4:1</m:t>
                    </m:r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李世石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17</m:t>
                    </m:r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年乌镇围棋峰会中 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3:0</m:t>
                    </m:r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柯洁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9" name="内容占位符 2">
                <a:extLst>
                  <a:ext uri="{FF2B5EF4-FFF2-40B4-BE49-F238E27FC236}">
                    <a16:creationId xmlns:a16="http://schemas.microsoft.com/office/drawing/2014/main" id="{C20F4C72-00A6-4AF6-A767-2A98DE56665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092852"/>
                <a:ext cx="6582237" cy="1654805"/>
              </a:xfrm>
              <a:prstGeom prst="rect">
                <a:avLst/>
              </a:prstGeom>
              <a:blipFill>
                <a:blip r:embed="rId7"/>
                <a:stretch>
                  <a:fillRect l="-556" t="-183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图片 4">
            <a:extLst>
              <a:ext uri="{FF2B5EF4-FFF2-40B4-BE49-F238E27FC236}">
                <a16:creationId xmlns:a16="http://schemas.microsoft.com/office/drawing/2014/main" id="{E6E189E2-4252-4824-90DA-5F0AB1CF149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02157" y="3485966"/>
            <a:ext cx="3738208" cy="25396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11745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56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464" y="361507"/>
            <a:ext cx="7870345" cy="679131"/>
          </a:xfrm>
        </p:spPr>
        <p:txBody>
          <a:bodyPr/>
          <a:lstStyle/>
          <a:p>
            <a:r>
              <a:rPr lang="zh-CN" altLang="en-US" dirty="0"/>
              <a:t>基于规划的强化学习方法总结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83515A53-D28B-4149-8676-420D29BF58A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2444" y="1474381"/>
            <a:ext cx="8137922" cy="4972464"/>
          </a:xfrm>
        </p:spPr>
        <p:txBody>
          <a:bodyPr>
            <a:normAutofit fontScale="92500" lnSpcReduction="10000"/>
          </a:bodyPr>
          <a:lstStyle/>
          <a:p>
            <a:r>
              <a:rPr lang="zh-CN" altLang="en-US" sz="2000" dirty="0"/>
              <a:t>模型和规划</a:t>
            </a:r>
          </a:p>
          <a:p>
            <a:r>
              <a:rPr lang="zh-CN" altLang="en-US" sz="2000" dirty="0"/>
              <a:t>模型是什么</a:t>
            </a:r>
          </a:p>
          <a:p>
            <a:r>
              <a:rPr lang="zh-CN" altLang="en-US" sz="2000" dirty="0"/>
              <a:t>规划是什么</a:t>
            </a:r>
            <a:endParaRPr lang="en-US" altLang="zh-CN" sz="2000" dirty="0"/>
          </a:p>
          <a:p>
            <a:endParaRPr lang="en-US" altLang="zh-CN" sz="2000" dirty="0"/>
          </a:p>
          <a:p>
            <a:r>
              <a:rPr lang="zh-CN" altLang="en-US" dirty="0"/>
              <a:t>基于模型的算法</a:t>
            </a:r>
            <a:endParaRPr lang="en-US" altLang="zh-CN" dirty="0"/>
          </a:p>
          <a:p>
            <a:pPr lvl="1"/>
            <a:r>
              <a:rPr lang="en-US" altLang="zh-CN" dirty="0"/>
              <a:t>Dyna</a:t>
            </a:r>
          </a:p>
          <a:p>
            <a:pPr lvl="1"/>
            <a:r>
              <a:rPr lang="en-US" altLang="zh-CN" dirty="0"/>
              <a:t>Dyna-Q+</a:t>
            </a:r>
          </a:p>
          <a:p>
            <a:endParaRPr lang="en-US" altLang="zh-CN" sz="2000" dirty="0"/>
          </a:p>
          <a:p>
            <a:r>
              <a:rPr lang="zh-CN" altLang="en-US" sz="2000" dirty="0"/>
              <a:t>期望更新和采样更新</a:t>
            </a:r>
            <a:endParaRPr lang="en-US" altLang="zh-CN" sz="2000" dirty="0"/>
          </a:p>
          <a:p>
            <a:pPr lvl="1"/>
            <a:r>
              <a:rPr lang="zh-CN" altLang="en-US" sz="1800" dirty="0"/>
              <a:t>优先级采样</a:t>
            </a:r>
            <a:endParaRPr lang="en-US" altLang="zh-CN" sz="1800" dirty="0"/>
          </a:p>
          <a:p>
            <a:pPr lvl="1"/>
            <a:r>
              <a:rPr lang="zh-CN" altLang="en-US" sz="1800" dirty="0"/>
              <a:t>轨迹采样</a:t>
            </a:r>
            <a:endParaRPr lang="en-US" altLang="zh-CN" sz="1800" dirty="0"/>
          </a:p>
          <a:p>
            <a:endParaRPr lang="en-US" altLang="zh-CN" dirty="0"/>
          </a:p>
          <a:p>
            <a:r>
              <a:rPr lang="zh-CN" altLang="en-US" dirty="0"/>
              <a:t>实时动态规划</a:t>
            </a:r>
            <a:endParaRPr lang="en-US" altLang="zh-CN" dirty="0"/>
          </a:p>
          <a:p>
            <a:r>
              <a:rPr lang="zh-CN" altLang="en-US" dirty="0"/>
              <a:t>决策时规划</a:t>
            </a:r>
            <a:endParaRPr lang="en-US" altLang="zh-CN" dirty="0"/>
          </a:p>
          <a:p>
            <a:pPr lvl="1"/>
            <a:r>
              <a:rPr lang="zh-CN" altLang="en-US" dirty="0"/>
              <a:t>启发式算法</a:t>
            </a:r>
            <a:endParaRPr lang="en-US" altLang="zh-CN" dirty="0"/>
          </a:p>
          <a:p>
            <a:pPr lvl="1"/>
            <a:r>
              <a:rPr lang="en-US" altLang="zh-CN" dirty="0"/>
              <a:t>Rollout </a:t>
            </a:r>
            <a:r>
              <a:rPr lang="zh-CN" altLang="en-US" dirty="0"/>
              <a:t>算法</a:t>
            </a:r>
            <a:endParaRPr lang="en-US" altLang="zh-CN" dirty="0"/>
          </a:p>
          <a:p>
            <a:pPr lvl="1"/>
            <a:r>
              <a:rPr lang="zh-CN" altLang="en-US" dirty="0"/>
              <a:t>蒙特卡洛树搜索</a:t>
            </a:r>
            <a:endParaRPr lang="en-US" altLang="zh-CN" dirty="0"/>
          </a:p>
          <a:p>
            <a:pPr lvl="2"/>
            <a:endParaRPr lang="en-US" altLang="zh-CN" sz="1200" dirty="0"/>
          </a:p>
          <a:p>
            <a:endParaRPr lang="en-US" altLang="zh-CN" sz="2000" dirty="0"/>
          </a:p>
          <a:p>
            <a:endParaRPr lang="zh-CN" altLang="en-US" sz="2000" dirty="0"/>
          </a:p>
          <a:p>
            <a:endParaRPr lang="zh-CN" altLang="en-US" sz="2000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DEB8FB3E-4261-47EE-8576-C26820465FF1}"/>
              </a:ext>
            </a:extLst>
          </p:cNvPr>
          <p:cNvGrpSpPr/>
          <p:nvPr/>
        </p:nvGrpSpPr>
        <p:grpSpPr>
          <a:xfrm>
            <a:off x="3317325" y="1931174"/>
            <a:ext cx="5528603" cy="4246484"/>
            <a:chOff x="738550" y="2210590"/>
            <a:chExt cx="5458813" cy="4157377"/>
          </a:xfrm>
        </p:grpSpPr>
        <p:pic>
          <p:nvPicPr>
            <p:cNvPr id="6" name="图片 5">
              <a:extLst>
                <a:ext uri="{FF2B5EF4-FFF2-40B4-BE49-F238E27FC236}">
                  <a16:creationId xmlns:a16="http://schemas.microsoft.com/office/drawing/2014/main" id="{E38ADD5D-A711-443E-B6B6-6AD93C3948C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38550" y="2210590"/>
              <a:ext cx="5458813" cy="4157377"/>
            </a:xfrm>
            <a:prstGeom prst="rect">
              <a:avLst/>
            </a:prstGeom>
          </p:spPr>
        </p:pic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782CE1C5-3CB3-4F6A-BC59-A6FD6F74C8E3}"/>
                </a:ext>
              </a:extLst>
            </p:cNvPr>
            <p:cNvSpPr/>
            <p:nvPr/>
          </p:nvSpPr>
          <p:spPr>
            <a:xfrm>
              <a:off x="2571940" y="2422254"/>
              <a:ext cx="1636665" cy="31151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值函数</a:t>
              </a:r>
              <a:r>
                <a:rPr lang="en-US" altLang="zh-CN" sz="20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/</a:t>
              </a:r>
              <a:r>
                <a:rPr lang="zh-CN" altLang="en-US" sz="20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策略</a:t>
              </a:r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42185549-F756-47FC-AC64-24192F8FDD07}"/>
                </a:ext>
              </a:extLst>
            </p:cNvPr>
            <p:cNvSpPr/>
            <p:nvPr/>
          </p:nvSpPr>
          <p:spPr>
            <a:xfrm>
              <a:off x="3879890" y="4682611"/>
              <a:ext cx="1636665" cy="31151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经验</a:t>
              </a: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DA899EDC-A292-4510-BB30-B7FFAC4EA5AF}"/>
                </a:ext>
              </a:extLst>
            </p:cNvPr>
            <p:cNvSpPr/>
            <p:nvPr/>
          </p:nvSpPr>
          <p:spPr>
            <a:xfrm>
              <a:off x="1242354" y="4700920"/>
              <a:ext cx="1636665" cy="31151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模型</a:t>
              </a: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44909CFC-2440-4090-A3EA-B43A84A5722F}"/>
                </a:ext>
              </a:extLst>
            </p:cNvPr>
            <p:cNvSpPr/>
            <p:nvPr/>
          </p:nvSpPr>
          <p:spPr>
            <a:xfrm>
              <a:off x="3578815" y="3496437"/>
              <a:ext cx="1155437" cy="60195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直接强化学习</a:t>
              </a: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45D1D376-1541-42F4-9B97-01C89CEA111B}"/>
                </a:ext>
              </a:extLst>
            </p:cNvPr>
            <p:cNvSpPr/>
            <p:nvPr/>
          </p:nvSpPr>
          <p:spPr>
            <a:xfrm>
              <a:off x="3481220" y="3335363"/>
              <a:ext cx="195192" cy="554315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76BBCABE-60D4-4D75-A5C3-D6A748B11E97}"/>
                </a:ext>
              </a:extLst>
            </p:cNvPr>
            <p:cNvSpPr/>
            <p:nvPr/>
          </p:nvSpPr>
          <p:spPr>
            <a:xfrm>
              <a:off x="4990597" y="3071607"/>
              <a:ext cx="655865" cy="60195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行动</a:t>
              </a: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849EA64E-5211-4097-9EB5-721F8B1A8711}"/>
                </a:ext>
              </a:extLst>
            </p:cNvPr>
            <p:cNvSpPr/>
            <p:nvPr/>
          </p:nvSpPr>
          <p:spPr>
            <a:xfrm>
              <a:off x="885323" y="3215269"/>
              <a:ext cx="836674" cy="60195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规划</a:t>
              </a: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BB6C0A38-0DE0-41E8-BDF3-950C6284FCA0}"/>
                </a:ext>
              </a:extLst>
            </p:cNvPr>
            <p:cNvSpPr/>
            <p:nvPr/>
          </p:nvSpPr>
          <p:spPr>
            <a:xfrm>
              <a:off x="2903502" y="5638698"/>
              <a:ext cx="1155437" cy="60195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模型学习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722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68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策略提升（</a:t>
            </a:r>
            <a:r>
              <a:rPr lang="en-US" altLang="zh-CN" dirty="0"/>
              <a:t>Policy Improvement</a:t>
            </a:r>
            <a:r>
              <a:rPr lang="zh-CN" altLang="en-US" dirty="0"/>
              <a:t>）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1209707"/>
                <a:ext cx="7846442" cy="102869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两个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</m:t>
                    </m:r>
                    <m:r>
                      <a:rPr lang="zh-CN" altLang="en-US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  <m:r>
                      <a:rPr lang="zh-CN" altLang="en-US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如果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满足如下性质，</a:t>
                </a:r>
                <a:r>
                  <a:rPr lang="en-US" altLang="zh-CN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策略提升：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任何状态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s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有</a:t>
                </a:r>
                <a:endParaRPr lang="en-US" altLang="zh-CN" dirty="0">
                  <a:latin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1209707"/>
                <a:ext cx="7846442" cy="1028699"/>
              </a:xfrm>
              <a:prstGeom prst="rect">
                <a:avLst/>
              </a:prstGeom>
              <a:blipFill>
                <a:blip r:embed="rId3"/>
                <a:stretch>
                  <a:fillRect l="-466" b="-532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EF7170C7-E030-4A06-B803-96456ADC5D67}"/>
                  </a:ext>
                </a:extLst>
              </p:cNvPr>
              <p:cNvSpPr txBox="1"/>
              <p:nvPr/>
            </p:nvSpPr>
            <p:spPr>
              <a:xfrm>
                <a:off x="1795540" y="4417103"/>
                <a:ext cx="2021747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𝜋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EF7170C7-E030-4A06-B803-96456ADC5D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5540" y="4417103"/>
                <a:ext cx="2021747" cy="369332"/>
              </a:xfrm>
              <a:prstGeom prst="rect">
                <a:avLst/>
              </a:prstGeom>
              <a:blipFill>
                <a:blip r:embed="rId4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3DEAC0E3-020D-4E78-9B02-1C05E2DC545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4827326"/>
                <a:ext cx="7846442" cy="54024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800100" lvl="1" indent="-342900">
                  <a:lnSpc>
                    <a:spcPct val="150000"/>
                  </a:lnSpc>
                  <a:buFont typeface="+mj-lt"/>
                  <a:buAutoNum type="arabicPeriod" startAt="2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其他所有状态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下，两策略输出相同，即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3DEAC0E3-020D-4E78-9B02-1C05E2DC54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4827326"/>
                <a:ext cx="7846442" cy="540241"/>
              </a:xfrm>
              <a:prstGeom prst="rect">
                <a:avLst/>
              </a:prstGeom>
              <a:blipFill>
                <a:blip r:embed="rId5"/>
                <a:stretch>
                  <a:fillRect b="-898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39FA3205-DAD9-499A-B538-43BEBD03060A}"/>
                  </a:ext>
                </a:extLst>
              </p:cNvPr>
              <p:cNvSpPr txBox="1"/>
              <p:nvPr/>
            </p:nvSpPr>
            <p:spPr>
              <a:xfrm>
                <a:off x="1918182" y="5382140"/>
                <a:ext cx="1776462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𝜋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′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39FA3205-DAD9-499A-B538-43BEBD0306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8182" y="5382140"/>
                <a:ext cx="1776462" cy="369332"/>
              </a:xfrm>
              <a:prstGeom prst="rect">
                <a:avLst/>
              </a:prstGeom>
              <a:blipFill>
                <a:blip r:embed="rId6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4B0DD9D9-F0CD-43BC-A517-18F53D22250F}"/>
                  </a:ext>
                </a:extLst>
              </p:cNvPr>
              <p:cNvSpPr txBox="1"/>
              <p:nvPr/>
            </p:nvSpPr>
            <p:spPr>
              <a:xfrm>
                <a:off x="4143860" y="4417103"/>
                <a:ext cx="4035406" cy="40498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&gt;</m:t>
                      </m:r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𝜋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4B0DD9D9-F0CD-43BC-A517-18F53D22250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43860" y="4417103"/>
                <a:ext cx="4035406" cy="404983"/>
              </a:xfrm>
              <a:prstGeom prst="rect">
                <a:avLst/>
              </a:prstGeom>
              <a:blipFill>
                <a:blip r:embed="rId7"/>
                <a:stretch>
                  <a:fillRect b="-60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内容占位符 2">
                <a:extLst>
                  <a:ext uri="{FF2B5EF4-FFF2-40B4-BE49-F238E27FC236}">
                    <a16:creationId xmlns:a16="http://schemas.microsoft.com/office/drawing/2014/main" id="{2D1D8822-D2C4-4A0E-AAFD-D4312F1D54C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64734" y="5777015"/>
                <a:ext cx="7563446" cy="54024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57150" indent="0">
                  <a:lnSpc>
                    <a:spcPct val="150000"/>
                  </a:lnSpc>
                  <a:buNone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那么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一种</a:t>
                </a:r>
                <a:r>
                  <a:rPr lang="zh-CN" altLang="en-US" dirty="0">
                    <a:solidFill>
                      <a:srgbClr val="00B0F0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提升</a:t>
                </a:r>
                <a:endParaRPr lang="en-US" altLang="zh-CN" dirty="0">
                  <a:solidFill>
                    <a:srgbClr val="00B0F0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9" name="内容占位符 2">
                <a:extLst>
                  <a:ext uri="{FF2B5EF4-FFF2-40B4-BE49-F238E27FC236}">
                    <a16:creationId xmlns:a16="http://schemas.microsoft.com/office/drawing/2014/main" id="{2D1D8822-D2C4-4A0E-AAFD-D4312F1D54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4734" y="5777015"/>
                <a:ext cx="7563446" cy="540241"/>
              </a:xfrm>
              <a:prstGeom prst="rect">
                <a:avLst/>
              </a:prstGeom>
              <a:blipFill>
                <a:blip r:embed="rId8"/>
                <a:stretch>
                  <a:fillRect l="-81" b="-1477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1B3E604D-1009-4DCE-825D-016CF0CE970F}"/>
                  </a:ext>
                </a:extLst>
              </p:cNvPr>
              <p:cNvSpPr txBox="1"/>
              <p:nvPr/>
            </p:nvSpPr>
            <p:spPr>
              <a:xfrm>
                <a:off x="4143859" y="5372032"/>
                <a:ext cx="4035405" cy="40498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𝜋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1B3E604D-1009-4DCE-825D-016CF0CE970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43859" y="5372032"/>
                <a:ext cx="4035405" cy="404983"/>
              </a:xfrm>
              <a:prstGeom prst="rect">
                <a:avLst/>
              </a:prstGeom>
              <a:blipFill>
                <a:blip r:embed="rId9"/>
                <a:stretch>
                  <a:fillRect b="-597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内容占位符 2">
                <a:extLst>
                  <a:ext uri="{FF2B5EF4-FFF2-40B4-BE49-F238E27FC236}">
                    <a16:creationId xmlns:a16="http://schemas.microsoft.com/office/drawing/2014/main" id="{A1A5805E-C176-467E-8989-7BD30C847AE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3308181"/>
                <a:ext cx="7846442" cy="102869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一种特例：给定环境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DP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两个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</m:t>
                    </m:r>
                    <m:r>
                      <a:rPr lang="zh-CN" altLang="en-US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  <m:r>
                      <a:rPr lang="zh-CN" altLang="en-US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如果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满足如下性质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某个状态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下，两策略的输出不同，并且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1" name="内容占位符 2">
                <a:extLst>
                  <a:ext uri="{FF2B5EF4-FFF2-40B4-BE49-F238E27FC236}">
                    <a16:creationId xmlns:a16="http://schemas.microsoft.com/office/drawing/2014/main" id="{A1A5805E-C176-467E-8989-7BD30C847A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3308181"/>
                <a:ext cx="7846442" cy="1028699"/>
              </a:xfrm>
              <a:prstGeom prst="rect">
                <a:avLst/>
              </a:prstGeom>
              <a:blipFill>
                <a:blip r:embed="rId10"/>
                <a:stretch>
                  <a:fillRect l="-466" b="-8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097EA4CC-E4D5-4DF3-819C-7CB6296E0991}"/>
                  </a:ext>
                </a:extLst>
              </p:cNvPr>
              <p:cNvSpPr txBox="1"/>
              <p:nvPr/>
            </p:nvSpPr>
            <p:spPr>
              <a:xfrm>
                <a:off x="2286000" y="2318629"/>
                <a:ext cx="4572000" cy="43973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20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p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097EA4CC-E4D5-4DF3-819C-7CB6296E09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6000" y="2318629"/>
                <a:ext cx="4572000" cy="439736"/>
              </a:xfrm>
              <a:prstGeom prst="rect">
                <a:avLst/>
              </a:prstGeom>
              <a:blipFill>
                <a:blip r:embed="rId11"/>
                <a:stretch>
                  <a:fillRect b="-555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" name="直接箭头连接符 5">
            <a:extLst>
              <a:ext uri="{FF2B5EF4-FFF2-40B4-BE49-F238E27FC236}">
                <a16:creationId xmlns:a16="http://schemas.microsoft.com/office/drawing/2014/main" id="{6F7E283C-74CB-4931-B03C-CB680D4BB079}"/>
              </a:ext>
            </a:extLst>
          </p:cNvPr>
          <p:cNvCxnSpPr/>
          <p:nvPr/>
        </p:nvCxnSpPr>
        <p:spPr>
          <a:xfrm flipV="1">
            <a:off x="3646877" y="2654490"/>
            <a:ext cx="0" cy="2797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88939694-19DF-4F14-84C3-006C0DE0BBC1}"/>
                  </a:ext>
                </a:extLst>
              </p:cNvPr>
              <p:cNvSpPr txBox="1"/>
              <p:nvPr/>
            </p:nvSpPr>
            <p:spPr>
              <a:xfrm>
                <a:off x="2957665" y="2969920"/>
                <a:ext cx="1473957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dirty="0">
                    <a:solidFill>
                      <a:srgbClr val="00B0F0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zh-CN" altLang="en-US" i="1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来</m:t>
                    </m:r>
                  </m:oMath>
                </a14:m>
                <a:r>
                  <a:rPr lang="zh-CN" altLang="en-US" dirty="0">
                    <a:solidFill>
                      <a:srgbClr val="00B0F0"/>
                    </a:solidFill>
                  </a:rPr>
                  <a:t>记回报</a:t>
                </a:r>
              </a:p>
            </p:txBody>
          </p:sp>
        </mc:Choice>
        <mc:Fallback xmlns=""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88939694-19DF-4F14-84C3-006C0DE0BB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57665" y="2969920"/>
                <a:ext cx="1473957" cy="369332"/>
              </a:xfrm>
              <a:prstGeom prst="rect">
                <a:avLst/>
              </a:prstGeom>
              <a:blipFill>
                <a:blip r:embed="rId12"/>
                <a:stretch>
                  <a:fillRect l="-3306" t="-9836" r="-2893" b="-2623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09011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策略提升定理（</a:t>
            </a:r>
            <a:r>
              <a:rPr lang="en-US" altLang="zh-CN" dirty="0"/>
              <a:t>Policy Improvement Theorem</a:t>
            </a:r>
            <a:r>
              <a:rPr lang="zh-CN" altLang="en-US" dirty="0"/>
              <a:t>）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1209707"/>
                <a:ext cx="7846442" cy="102869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两个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</m:t>
                    </m:r>
                    <m:r>
                      <a:rPr lang="zh-CN" altLang="en-US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  <m:r>
                      <a:rPr lang="zh-CN" altLang="en-US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如果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满足如下性质，</a:t>
                </a:r>
                <a:r>
                  <a:rPr lang="en-US" altLang="zh-CN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策略提升：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任何状态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有</a:t>
                </a:r>
                <a:endParaRPr lang="en-US" altLang="zh-CN" dirty="0">
                  <a:latin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1209707"/>
                <a:ext cx="7846442" cy="1028699"/>
              </a:xfrm>
              <a:prstGeom prst="rect">
                <a:avLst/>
              </a:prstGeom>
              <a:blipFill>
                <a:blip r:embed="rId3"/>
                <a:stretch>
                  <a:fillRect l="-466" b="-532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内容占位符 2">
                <a:extLst>
                  <a:ext uri="{FF2B5EF4-FFF2-40B4-BE49-F238E27FC236}">
                    <a16:creationId xmlns:a16="http://schemas.microsoft.com/office/drawing/2014/main" id="{A1A5805E-C176-467E-8989-7BD30C847AE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3725085"/>
                <a:ext cx="7846442" cy="102869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进而，</a:t>
                </a:r>
                <a:r>
                  <a:rPr lang="en-US" altLang="zh-CN" b="0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</m:t>
                    </m:r>
                    <m:r>
                      <a:rPr lang="zh-CN" altLang="en-US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满足</m:t>
                    </m:r>
                    <m:r>
                      <a:rPr lang="zh-CN" altLang="en-US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：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任何状态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1" name="内容占位符 2">
                <a:extLst>
                  <a:ext uri="{FF2B5EF4-FFF2-40B4-BE49-F238E27FC236}">
                    <a16:creationId xmlns:a16="http://schemas.microsoft.com/office/drawing/2014/main" id="{A1A5805E-C176-467E-8989-7BD30C847A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3725085"/>
                <a:ext cx="7846442" cy="1028699"/>
              </a:xfrm>
              <a:prstGeom prst="rect">
                <a:avLst/>
              </a:prstGeom>
              <a:blipFill>
                <a:blip r:embed="rId4"/>
                <a:stretch>
                  <a:fillRect l="-46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097EA4CC-E4D5-4DF3-819C-7CB6296E0991}"/>
                  </a:ext>
                </a:extLst>
              </p:cNvPr>
              <p:cNvSpPr txBox="1"/>
              <p:nvPr/>
            </p:nvSpPr>
            <p:spPr>
              <a:xfrm>
                <a:off x="2286000" y="2318629"/>
                <a:ext cx="4572000" cy="43973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20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p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097EA4CC-E4D5-4DF3-819C-7CB6296E09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6000" y="2318629"/>
                <a:ext cx="4572000" cy="439736"/>
              </a:xfrm>
              <a:prstGeom prst="rect">
                <a:avLst/>
              </a:prstGeom>
              <a:blipFill>
                <a:blip r:embed="rId5"/>
                <a:stretch>
                  <a:fillRect b="-555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B8ED3C7F-E9D3-4F58-B624-2ABFE7326002}"/>
                  </a:ext>
                </a:extLst>
              </p:cNvPr>
              <p:cNvSpPr txBox="1"/>
              <p:nvPr/>
            </p:nvSpPr>
            <p:spPr>
              <a:xfrm>
                <a:off x="2286000" y="4239434"/>
                <a:ext cx="4572000" cy="44217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20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sSup>
                            <m:sSup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p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sup>
                      </m:sSup>
                      <m:d>
                        <m:d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sz="2000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B8ED3C7F-E9D3-4F58-B624-2ABFE732600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6000" y="4239434"/>
                <a:ext cx="4572000" cy="44217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直接箭头连接符 13">
            <a:extLst>
              <a:ext uri="{FF2B5EF4-FFF2-40B4-BE49-F238E27FC236}">
                <a16:creationId xmlns:a16="http://schemas.microsoft.com/office/drawing/2014/main" id="{324266DC-963A-453F-B3F3-4B0097613FB4}"/>
              </a:ext>
            </a:extLst>
          </p:cNvPr>
          <p:cNvCxnSpPr/>
          <p:nvPr/>
        </p:nvCxnSpPr>
        <p:spPr>
          <a:xfrm flipV="1">
            <a:off x="3960776" y="4701655"/>
            <a:ext cx="0" cy="2797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B7379E44-4817-47DC-8847-FB53841D8D74}"/>
                  </a:ext>
                </a:extLst>
              </p:cNvPr>
              <p:cNvSpPr txBox="1"/>
              <p:nvPr/>
            </p:nvSpPr>
            <p:spPr>
              <a:xfrm>
                <a:off x="3153610" y="5017085"/>
                <a:ext cx="1614332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dirty="0">
                    <a:solidFill>
                      <a:srgbClr val="00B0F0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以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p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</m:sup>
                    </m:sSup>
                    <m:r>
                      <a:rPr lang="zh-CN" altLang="en-US" i="1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来</m:t>
                    </m:r>
                  </m:oMath>
                </a14:m>
                <a:r>
                  <a:rPr lang="zh-CN" altLang="en-US" dirty="0">
                    <a:solidFill>
                      <a:srgbClr val="00B0F0"/>
                    </a:solidFill>
                  </a:rPr>
                  <a:t>记回报</a:t>
                </a:r>
              </a:p>
            </p:txBody>
          </p:sp>
        </mc:Choice>
        <mc:Fallback xmlns="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B7379E44-4817-47DC-8847-FB53841D8D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3610" y="5017085"/>
                <a:ext cx="1614332" cy="369332"/>
              </a:xfrm>
              <a:prstGeom prst="rect">
                <a:avLst/>
              </a:prstGeom>
              <a:blipFill>
                <a:blip r:embed="rId7"/>
                <a:stretch>
                  <a:fillRect l="-3019" t="-9836" b="-2623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E5C41EF0-57A0-45EA-A970-B82E064465CD}"/>
              </a:ext>
            </a:extLst>
          </p:cNvPr>
          <p:cNvCxnSpPr/>
          <p:nvPr/>
        </p:nvCxnSpPr>
        <p:spPr>
          <a:xfrm flipV="1">
            <a:off x="3646877" y="2654490"/>
            <a:ext cx="0" cy="2797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AB733C57-F042-4FF2-9073-E3AA07305F82}"/>
                  </a:ext>
                </a:extLst>
              </p:cNvPr>
              <p:cNvSpPr txBox="1"/>
              <p:nvPr/>
            </p:nvSpPr>
            <p:spPr>
              <a:xfrm>
                <a:off x="2957665" y="2969920"/>
                <a:ext cx="1473957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dirty="0">
                    <a:solidFill>
                      <a:srgbClr val="00B0F0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zh-CN" altLang="en-US" i="1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来</m:t>
                    </m:r>
                  </m:oMath>
                </a14:m>
                <a:r>
                  <a:rPr lang="zh-CN" altLang="en-US" dirty="0">
                    <a:solidFill>
                      <a:srgbClr val="00B0F0"/>
                    </a:solidFill>
                  </a:rPr>
                  <a:t>记回报</a:t>
                </a:r>
              </a:p>
            </p:txBody>
          </p:sp>
        </mc:Choice>
        <mc:Fallback xmlns=""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AB733C57-F042-4FF2-9073-E3AA07305F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57665" y="2969920"/>
                <a:ext cx="1473957" cy="369332"/>
              </a:xfrm>
              <a:prstGeom prst="rect">
                <a:avLst/>
              </a:prstGeom>
              <a:blipFill>
                <a:blip r:embed="rId8"/>
                <a:stretch>
                  <a:fillRect l="-3306" t="-9836" r="-2893" b="-2623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内容占位符 2">
                <a:extLst>
                  <a:ext uri="{FF2B5EF4-FFF2-40B4-BE49-F238E27FC236}">
                    <a16:creationId xmlns:a16="http://schemas.microsoft.com/office/drawing/2014/main" id="{56FA9B86-4B22-4AA4-9574-02FCADFB1F2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41696" y="5648294"/>
                <a:ext cx="7586484" cy="59217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50000"/>
                  </a:lnSpc>
                  <a:buNone/>
                </a:pPr>
                <a14:m>
                  <m:oMath xmlns:m="http://schemas.openxmlformats.org/officeDocument/2006/math">
                    <m:r>
                      <a:rPr lang="zh-CN" altLang="en-US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也即是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</m:t>
                    </m:r>
                    <m:r>
                      <a:rPr lang="zh-CN" altLang="en-US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的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价值（期望回报）超过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</a:t>
                </a:r>
                <a:r>
                  <a:rPr lang="en-US" altLang="zh-CN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比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加优秀。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5" name="内容占位符 2">
                <a:extLst>
                  <a:ext uri="{FF2B5EF4-FFF2-40B4-BE49-F238E27FC236}">
                    <a16:creationId xmlns:a16="http://schemas.microsoft.com/office/drawing/2014/main" id="{56FA9B86-4B22-4AA4-9574-02FCADFB1F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1696" y="5648294"/>
                <a:ext cx="7586484" cy="592170"/>
              </a:xfrm>
              <a:prstGeom prst="rect">
                <a:avLst/>
              </a:prstGeom>
              <a:blipFill>
                <a:blip r:embed="rId9"/>
                <a:stretch>
                  <a:fillRect l="-402" b="-412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09163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策略提升定理（</a:t>
            </a:r>
            <a:r>
              <a:rPr lang="en-US" altLang="zh-CN" dirty="0"/>
              <a:t>Policy Improvement Theorem</a:t>
            </a:r>
            <a:r>
              <a:rPr lang="zh-CN" altLang="en-US" dirty="0"/>
              <a:t>）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1209707"/>
                <a:ext cx="7846442" cy="147207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两个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</m:t>
                    </m:r>
                    <m:r>
                      <a:rPr lang="zh-CN" altLang="en-US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  <m:r>
                      <a:rPr lang="zh-CN" altLang="en-US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如果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满足如下性质，</a:t>
                </a:r>
                <a:r>
                  <a:rPr lang="en-US" altLang="zh-CN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策略提升：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任何状态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有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𝑄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𝜋</m:t>
                        </m:r>
                      </m:sup>
                    </m:sSup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𝜋</m:t>
                            </m:r>
                          </m:e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′</m:t>
                            </m:r>
                          </m:sup>
                        </m:sSup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𝜋</m:t>
                        </m:r>
                      </m:sup>
                    </m:sSup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</a:rPr>
                  <a:t>，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因此有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18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1800" i="1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p>
                        <m:sSup>
                          <m:sSupPr>
                            <m:ctrlPr>
                              <a:rPr lang="en-US" altLang="zh-CN" sz="18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1800" i="1">
                                <a:latin typeface="Cambria Math" panose="02040503050406030204" pitchFamily="18" charset="0"/>
                              </a:rPr>
                              <m:t>𝜋</m:t>
                            </m:r>
                          </m:e>
                          <m:sup>
                            <m:r>
                              <a:rPr lang="en-US" altLang="zh-CN" sz="1800" b="0" i="1" smtClean="0">
                                <a:latin typeface="Cambria Math" panose="02040503050406030204" pitchFamily="18" charset="0"/>
                              </a:rPr>
                              <m:t>′</m:t>
                            </m:r>
                          </m:sup>
                        </m:sSup>
                      </m:sup>
                    </m:sSup>
                    <m:d>
                      <m:dPr>
                        <m:ctrlPr>
                          <a:rPr lang="en-US" altLang="zh-CN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1800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  <m:r>
                      <a:rPr lang="en-US" altLang="zh-CN" sz="18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1800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altLang="zh-CN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1800" i="1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p>
                        <m:r>
                          <a:rPr lang="en-US" altLang="zh-CN" sz="1800" i="1">
                            <a:latin typeface="Cambria Math" panose="02040503050406030204" pitchFamily="18" charset="0"/>
                          </a:rPr>
                          <m:t>𝜋</m:t>
                        </m:r>
                      </m:sup>
                    </m:sSup>
                    <m:d>
                      <m:dPr>
                        <m:ctrlPr>
                          <a:rPr lang="en-US" altLang="zh-CN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1800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1209707"/>
                <a:ext cx="7846442" cy="1472078"/>
              </a:xfrm>
              <a:prstGeom prst="rect">
                <a:avLst/>
              </a:prstGeom>
              <a:blipFill>
                <a:blip r:embed="rId3"/>
                <a:stretch>
                  <a:fillRect l="-46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内容占位符 2">
            <a:extLst>
              <a:ext uri="{FF2B5EF4-FFF2-40B4-BE49-F238E27FC236}">
                <a16:creationId xmlns:a16="http://schemas.microsoft.com/office/drawing/2014/main" id="{AB49C385-89CC-4DB7-BDFE-CDD49426238C}"/>
              </a:ext>
            </a:extLst>
          </p:cNvPr>
          <p:cNvSpPr txBox="1">
            <a:spLocks/>
          </p:cNvSpPr>
          <p:nvPr/>
        </p:nvSpPr>
        <p:spPr>
          <a:xfrm>
            <a:off x="681738" y="2216243"/>
            <a:ext cx="7846442" cy="5917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证明：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64D24DD-F788-4320-9859-15641B53BD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0688" y="2681785"/>
            <a:ext cx="7691574" cy="392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358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策略提升定理（</a:t>
            </a:r>
            <a:r>
              <a:rPr lang="en-US" altLang="zh-CN" dirty="0"/>
              <a:t>Policy Improvement Theorem</a:t>
            </a:r>
            <a:r>
              <a:rPr lang="zh-CN" altLang="en-US" dirty="0"/>
              <a:t>）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1209707"/>
                <a:ext cx="7846442" cy="147207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lnSpcReduction="1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两个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</m:t>
                    </m:r>
                    <m:r>
                      <a:rPr lang="zh-CN" altLang="en-US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  <m:r>
                      <a:rPr lang="zh-CN" altLang="en-US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如果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满足如下性质，</a:t>
                </a:r>
                <a:r>
                  <a:rPr lang="en-US" altLang="zh-CN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策略提升：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任何状态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有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𝑄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𝜋</m:t>
                        </m:r>
                      </m:sup>
                    </m:sSup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𝜋</m:t>
                            </m:r>
                          </m:e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′</m:t>
                            </m:r>
                          </m:sup>
                        </m:sSup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𝜋</m:t>
                        </m:r>
                      </m:sup>
                    </m:sSup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endParaRPr lang="en-US" altLang="zh-CN" dirty="0">
                  <a:latin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因此有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18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1800" i="1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p>
                        <m:sSup>
                          <m:sSupPr>
                            <m:ctrlPr>
                              <a:rPr lang="en-US" altLang="zh-CN" sz="18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1800" i="1">
                                <a:latin typeface="Cambria Math" panose="02040503050406030204" pitchFamily="18" charset="0"/>
                              </a:rPr>
                              <m:t>𝜋</m:t>
                            </m:r>
                          </m:e>
                          <m:sup>
                            <m:r>
                              <a:rPr lang="en-US" altLang="zh-CN" sz="1800" b="0" i="1" smtClean="0">
                                <a:latin typeface="Cambria Math" panose="02040503050406030204" pitchFamily="18" charset="0"/>
                              </a:rPr>
                              <m:t>′</m:t>
                            </m:r>
                          </m:sup>
                        </m:sSup>
                      </m:sup>
                    </m:sSup>
                    <m:d>
                      <m:dPr>
                        <m:ctrlPr>
                          <a:rPr lang="en-US" altLang="zh-CN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1800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  <m:r>
                      <a:rPr lang="en-US" altLang="zh-CN" sz="18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1800" b="0" i="1" smtClean="0"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altLang="zh-CN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1800" i="1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p>
                        <m:r>
                          <a:rPr lang="en-US" altLang="zh-CN" sz="1800" i="1">
                            <a:latin typeface="Cambria Math" panose="02040503050406030204" pitchFamily="18" charset="0"/>
                          </a:rPr>
                          <m:t>𝜋</m:t>
                        </m:r>
                      </m:sup>
                    </m:sSup>
                    <m:d>
                      <m:dPr>
                        <m:ctrlPr>
                          <a:rPr lang="en-US" altLang="zh-CN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1800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1209707"/>
                <a:ext cx="7846442" cy="1472078"/>
              </a:xfrm>
              <a:prstGeom prst="rect">
                <a:avLst/>
              </a:prstGeom>
              <a:blipFill>
                <a:blip r:embed="rId3"/>
                <a:stretch>
                  <a:fillRect l="-466" b="-661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内容占位符 2">
            <a:extLst>
              <a:ext uri="{FF2B5EF4-FFF2-40B4-BE49-F238E27FC236}">
                <a16:creationId xmlns:a16="http://schemas.microsoft.com/office/drawing/2014/main" id="{AB49C385-89CC-4DB7-BDFE-CDD49426238C}"/>
              </a:ext>
            </a:extLst>
          </p:cNvPr>
          <p:cNvSpPr txBox="1">
            <a:spLocks/>
          </p:cNvSpPr>
          <p:nvPr/>
        </p:nvSpPr>
        <p:spPr>
          <a:xfrm>
            <a:off x="681738" y="2949798"/>
            <a:ext cx="7846442" cy="5917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策略提升定理带给我们的启示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CF158A86-D0E0-44A1-BFCB-EAA37063FD5F}"/>
                  </a:ext>
                </a:extLst>
              </p:cNvPr>
              <p:cNvSpPr txBox="1"/>
              <p:nvPr/>
            </p:nvSpPr>
            <p:spPr>
              <a:xfrm>
                <a:off x="2605017" y="3633880"/>
                <a:ext cx="2204113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评估</m:t>
                      </m:r>
                      <m:r>
                        <a:rPr lang="zh-CN" altLang="en-US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策略价值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CF158A86-D0E0-44A1-BFCB-EAA37063FD5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05017" y="3633880"/>
                <a:ext cx="2204113" cy="369332"/>
              </a:xfrm>
              <a:prstGeom prst="rect">
                <a:avLst/>
              </a:prstGeom>
              <a:blipFill>
                <a:blip r:embed="rId4"/>
                <a:stretch>
                  <a:fillRect t="-6557" b="-2623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F3B539A3-AA80-4AF9-BB02-7F4ABE2A0951}"/>
                  </a:ext>
                </a:extLst>
              </p:cNvPr>
              <p:cNvSpPr txBox="1"/>
              <p:nvPr/>
            </p:nvSpPr>
            <p:spPr>
              <a:xfrm>
                <a:off x="1521726" y="3633880"/>
                <a:ext cx="798394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𝜋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F3B539A3-AA80-4AF9-BB02-7F4ABE2A095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21726" y="3633880"/>
                <a:ext cx="798394" cy="646331"/>
              </a:xfrm>
              <a:prstGeom prst="rect">
                <a:avLst/>
              </a:prstGeom>
              <a:blipFill>
                <a:blip r:embed="rId5"/>
                <a:stretch>
                  <a:fillRect t="-4717" r="-305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直接箭头连接符 13">
            <a:extLst>
              <a:ext uri="{FF2B5EF4-FFF2-40B4-BE49-F238E27FC236}">
                <a16:creationId xmlns:a16="http://schemas.microsoft.com/office/drawing/2014/main" id="{8458DBA8-628E-4C80-B289-1A4BB7A63DCF}"/>
              </a:ext>
            </a:extLst>
          </p:cNvPr>
          <p:cNvCxnSpPr/>
          <p:nvPr/>
        </p:nvCxnSpPr>
        <p:spPr>
          <a:xfrm>
            <a:off x="4645357" y="3957046"/>
            <a:ext cx="327546" cy="169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94411548-D52A-4BE7-811A-4FE6295E7E58}"/>
                  </a:ext>
                </a:extLst>
              </p:cNvPr>
              <p:cNvSpPr txBox="1"/>
              <p:nvPr/>
            </p:nvSpPr>
            <p:spPr>
              <a:xfrm>
                <a:off x="5361436" y="3961483"/>
                <a:ext cx="2333035" cy="40498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94411548-D52A-4BE7-811A-4FE6295E7E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61436" y="3961483"/>
                <a:ext cx="2333035" cy="404983"/>
              </a:xfrm>
              <a:prstGeom prst="rect">
                <a:avLst/>
              </a:prstGeom>
              <a:blipFill>
                <a:blip r:embed="rId6"/>
                <a:stretch>
                  <a:fillRect b="-60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1AE02E0E-5A81-48A2-85F4-03D1E3E43CC5}"/>
                  </a:ext>
                </a:extLst>
              </p:cNvPr>
              <p:cNvSpPr txBox="1"/>
              <p:nvPr/>
            </p:nvSpPr>
            <p:spPr>
              <a:xfrm>
                <a:off x="5490358" y="3624941"/>
                <a:ext cx="2436544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寻找到新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使得</m:t>
                    </m:r>
                  </m:oMath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1AE02E0E-5A81-48A2-85F4-03D1E3E43C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90358" y="3624941"/>
                <a:ext cx="2436544" cy="369332"/>
              </a:xfrm>
              <a:prstGeom prst="rect">
                <a:avLst/>
              </a:prstGeom>
              <a:blipFill>
                <a:blip r:embed="rId7"/>
                <a:stretch>
                  <a:fillRect l="-2256" t="-10000" b="-26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611C385C-00C0-4FBA-831A-D577BBD38C10}"/>
              </a:ext>
            </a:extLst>
          </p:cNvPr>
          <p:cNvCxnSpPr/>
          <p:nvPr/>
        </p:nvCxnSpPr>
        <p:spPr>
          <a:xfrm>
            <a:off x="2398595" y="3957046"/>
            <a:ext cx="327546" cy="169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26636E8E-A099-4EB8-9DE6-564AA1A6FDCB}"/>
                  </a:ext>
                </a:extLst>
              </p:cNvPr>
              <p:cNvSpPr txBox="1"/>
              <p:nvPr/>
            </p:nvSpPr>
            <p:spPr>
              <a:xfrm>
                <a:off x="3243596" y="3961483"/>
                <a:ext cx="873456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</m:e>
                        <m:sup>
                          <m:r>
                            <a:rPr lang="en-US" altLang="zh-CN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⋅</m:t>
                          </m:r>
                        </m:e>
                      </m:d>
                    </m:oMath>
                  </m:oMathPara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26636E8E-A099-4EB8-9DE6-564AA1A6FDC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3596" y="3961483"/>
                <a:ext cx="873456" cy="36933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" name="连接符: 肘形 23">
            <a:extLst>
              <a:ext uri="{FF2B5EF4-FFF2-40B4-BE49-F238E27FC236}">
                <a16:creationId xmlns:a16="http://schemas.microsoft.com/office/drawing/2014/main" id="{898C43D1-E206-4CDA-BEB9-F25B70F214BB}"/>
              </a:ext>
            </a:extLst>
          </p:cNvPr>
          <p:cNvCxnSpPr>
            <a:cxnSpLocks/>
            <a:endCxn id="11" idx="2"/>
          </p:cNvCxnSpPr>
          <p:nvPr/>
        </p:nvCxnSpPr>
        <p:spPr>
          <a:xfrm rot="10800000">
            <a:off x="1920923" y="4280211"/>
            <a:ext cx="4537026" cy="489626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960B1074-06FC-47C1-BB11-17819EBEC46E}"/>
              </a:ext>
            </a:extLst>
          </p:cNvPr>
          <p:cNvCxnSpPr/>
          <p:nvPr/>
        </p:nvCxnSpPr>
        <p:spPr>
          <a:xfrm flipV="1">
            <a:off x="6453867" y="4404713"/>
            <a:ext cx="0" cy="372193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AF8107E7-6767-45B9-8DD0-137F9A7E7E4E}"/>
                  </a:ext>
                </a:extLst>
              </p:cNvPr>
              <p:cNvSpPr txBox="1"/>
              <p:nvPr/>
            </p:nvSpPr>
            <p:spPr>
              <a:xfrm>
                <a:off x="4796146" y="3193104"/>
                <a:ext cx="3592535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dirty="0">
                    <a:solidFill>
                      <a:srgbClr val="00B0F0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[</a:t>
                </a:r>
                <a:r>
                  <a:rPr lang="zh-CN" altLang="en-US" dirty="0">
                    <a:solidFill>
                      <a:srgbClr val="00B0F0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找到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</m:d>
                  </m:oMath>
                </a14:m>
                <a:r>
                  <a:rPr lang="zh-CN" altLang="en-US" dirty="0">
                    <a:solidFill>
                      <a:srgbClr val="00B0F0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使得</a:t>
                </a:r>
                <a:r>
                  <a:rPr lang="zh-CN" altLang="en-US" dirty="0">
                    <a:solidFill>
                      <a:srgbClr val="00B0F0"/>
                    </a:solidFill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𝑄</m:t>
                        </m:r>
                      </m:e>
                      <m:sup>
                        <m: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</m:sup>
                    </m:sSup>
                    <m:d>
                      <m:dPr>
                        <m:ctrlP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</m:d>
                    <m:r>
                      <a:rPr lang="en-US" altLang="zh-CN" i="1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≥</m:t>
                    </m:r>
                    <m:sSup>
                      <m:sSupPr>
                        <m:ctrlP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p>
                        <m: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</m:sup>
                    </m:sSup>
                    <m:d>
                      <m:dPr>
                        <m:ctrlP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r>
                  <a:rPr lang="en-US" altLang="zh-CN" dirty="0">
                    <a:solidFill>
                      <a:srgbClr val="00B0F0"/>
                    </a:solidFill>
                  </a:rPr>
                  <a:t>]</a:t>
                </a:r>
                <a:endParaRPr lang="zh-CN" altLang="en-US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AF8107E7-6767-45B9-8DD0-137F9A7E7E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96146" y="3193104"/>
                <a:ext cx="3592535" cy="369332"/>
              </a:xfrm>
              <a:prstGeom prst="rect">
                <a:avLst/>
              </a:prstGeom>
              <a:blipFill>
                <a:blip r:embed="rId9"/>
                <a:stretch>
                  <a:fillRect t="-11667" b="-28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2" name="图片 31">
            <a:extLst>
              <a:ext uri="{FF2B5EF4-FFF2-40B4-BE49-F238E27FC236}">
                <a16:creationId xmlns:a16="http://schemas.microsoft.com/office/drawing/2014/main" id="{8C70E13B-521C-4293-BA8C-A419E344782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861760" y="4977146"/>
            <a:ext cx="2629559" cy="1536701"/>
          </a:xfrm>
          <a:prstGeom prst="rect">
            <a:avLst/>
          </a:prstGeom>
        </p:spPr>
      </p:pic>
      <p:pic>
        <p:nvPicPr>
          <p:cNvPr id="33" name="图片 32">
            <a:extLst>
              <a:ext uri="{FF2B5EF4-FFF2-40B4-BE49-F238E27FC236}">
                <a16:creationId xmlns:a16="http://schemas.microsoft.com/office/drawing/2014/main" id="{83D166AC-A0E8-4B12-880D-641DE5163944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b="48323"/>
          <a:stretch/>
        </p:blipFill>
        <p:spPr>
          <a:xfrm>
            <a:off x="5071421" y="5099674"/>
            <a:ext cx="1983279" cy="141417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4" name="文本框 33">
                <a:extLst>
                  <a:ext uri="{FF2B5EF4-FFF2-40B4-BE49-F238E27FC236}">
                    <a16:creationId xmlns:a16="http://schemas.microsoft.com/office/drawing/2014/main" id="{EA75ADED-24BB-4C8F-8FEB-C99131F570B2}"/>
                  </a:ext>
                </a:extLst>
              </p:cNvPr>
              <p:cNvSpPr txBox="1"/>
              <p:nvPr/>
            </p:nvSpPr>
            <p:spPr>
              <a:xfrm>
                <a:off x="7157059" y="5417010"/>
                <a:ext cx="1756775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价值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评估指导策略提升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34" name="文本框 33">
                <a:extLst>
                  <a:ext uri="{FF2B5EF4-FFF2-40B4-BE49-F238E27FC236}">
                    <a16:creationId xmlns:a16="http://schemas.microsoft.com/office/drawing/2014/main" id="{EA75ADED-24BB-4C8F-8FEB-C99131F570B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7059" y="5417010"/>
                <a:ext cx="1756775" cy="646331"/>
              </a:xfrm>
              <a:prstGeom prst="rect">
                <a:avLst/>
              </a:prstGeom>
              <a:blipFill>
                <a:blip r:embed="rId12"/>
                <a:stretch>
                  <a:fillRect t="-4717" b="-1415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74304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8.8|21.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2.4|18.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.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5.9|5.6|23.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0.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5.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7|11.9|7.9|7.9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8.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4.9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2.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6.3"/>
</p:tagLst>
</file>

<file path=ppt/theme/theme1.xml><?xml version="1.0" encoding="utf-8"?>
<a:theme xmlns:a="http://schemas.openxmlformats.org/drawingml/2006/main" name="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0166</TotalTime>
  <Words>5303</Words>
  <Application>Microsoft Office PowerPoint</Application>
  <PresentationFormat>全屏显示(4:3)</PresentationFormat>
  <Paragraphs>616</Paragraphs>
  <Slides>57</Slides>
  <Notes>38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7</vt:i4>
      </vt:variant>
    </vt:vector>
  </HeadingPairs>
  <TitlesOfParts>
    <vt:vector size="69" baseType="lpstr">
      <vt:lpstr>Alibaba PuHuiTi</vt:lpstr>
      <vt:lpstr>阿里巴巴普惠体 B</vt:lpstr>
      <vt:lpstr>阿里巴巴普惠体 R</vt:lpstr>
      <vt:lpstr>Microsoft YaHei</vt:lpstr>
      <vt:lpstr>Arial</vt:lpstr>
      <vt:lpstr>Calibri</vt:lpstr>
      <vt:lpstr>Cambria Math</vt:lpstr>
      <vt:lpstr>tahoma</vt:lpstr>
      <vt:lpstr>Wingdings</vt:lpstr>
      <vt:lpstr>主题5</vt:lpstr>
      <vt:lpstr>2_主题5</vt:lpstr>
      <vt:lpstr>think-cell Slide</vt:lpstr>
      <vt:lpstr>PowerPoint 演示文稿</vt:lpstr>
      <vt:lpstr>课程大纲</vt:lpstr>
      <vt:lpstr>“思想总是走在行动的前面，就好像闪电总是走在雷鸣之前。”  德国诗人海涅</vt:lpstr>
      <vt:lpstr>PowerPoint 演示文稿</vt:lpstr>
      <vt:lpstr>策略值函数估计（Policy Evaluation）</vt:lpstr>
      <vt:lpstr>策略提升（Policy Improvement）</vt:lpstr>
      <vt:lpstr>策略提升定理（Policy Improvement Theorem）</vt:lpstr>
      <vt:lpstr>策略提升定理（Policy Improvement Theorem）</vt:lpstr>
      <vt:lpstr>策略提升定理（Policy Improvement Theorem）</vt:lpstr>
      <vt:lpstr>PowerPoint 演示文稿</vt:lpstr>
      <vt:lpstr>PowerPoint 演示文稿</vt:lpstr>
      <vt:lpstr>模型是什么</vt:lpstr>
      <vt:lpstr>模型 (Model)</vt:lpstr>
      <vt:lpstr>模型(Model)</vt:lpstr>
      <vt:lpstr>规划是什么</vt:lpstr>
      <vt:lpstr>规划(Planning)</vt:lpstr>
      <vt:lpstr>规划(Planning)</vt:lpstr>
      <vt:lpstr>规划与学习</vt:lpstr>
      <vt:lpstr>规划与学习(Planning and Learning)</vt:lpstr>
      <vt:lpstr>Dyna 算法</vt:lpstr>
      <vt:lpstr>Dyna (集成规划、决策和学习)</vt:lpstr>
      <vt:lpstr>Dyna</vt:lpstr>
      <vt:lpstr>Dyna</vt:lpstr>
      <vt:lpstr>Dyna</vt:lpstr>
      <vt:lpstr>Dyna</vt:lpstr>
      <vt:lpstr>Dyna</vt:lpstr>
      <vt:lpstr>Dyna</vt:lpstr>
      <vt:lpstr>Dyna</vt:lpstr>
      <vt:lpstr>PowerPoint 演示文稿</vt:lpstr>
      <vt:lpstr>PowerPoint 演示文稿</vt:lpstr>
      <vt:lpstr>优先级采样</vt:lpstr>
      <vt:lpstr>常用的采样方法</vt:lpstr>
      <vt:lpstr>更好的采样方法</vt:lpstr>
      <vt:lpstr>优先级采样</vt:lpstr>
      <vt:lpstr>优先级采样</vt:lpstr>
      <vt:lpstr>期望更新和 采样更新</vt:lpstr>
      <vt:lpstr>期望更新和采样更新</vt:lpstr>
      <vt:lpstr>不同分支因子下的表现</vt:lpstr>
      <vt:lpstr>轨迹采样</vt:lpstr>
      <vt:lpstr>轨迹采样</vt:lpstr>
      <vt:lpstr>轨迹采样</vt:lpstr>
      <vt:lpstr>小结</vt:lpstr>
      <vt:lpstr>PowerPoint 演示文稿</vt:lpstr>
      <vt:lpstr>PowerPoint 演示文稿</vt:lpstr>
      <vt:lpstr>实时动态规划</vt:lpstr>
      <vt:lpstr>实时动态规划</vt:lpstr>
      <vt:lpstr>实时动态规划(RTDP)</vt:lpstr>
      <vt:lpstr>决策时规划</vt:lpstr>
      <vt:lpstr>决策时规划</vt:lpstr>
      <vt:lpstr>启发式搜索</vt:lpstr>
      <vt:lpstr>启发式搜索</vt:lpstr>
      <vt:lpstr>Rollout算法</vt:lpstr>
      <vt:lpstr>Rollout算法</vt:lpstr>
      <vt:lpstr>蒙特卡洛树搜索</vt:lpstr>
      <vt:lpstr>蒙特卡洛树搜索</vt:lpstr>
      <vt:lpstr>基于规划的强化学习方法总结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5-规划与学习</dc:title>
  <dc:creator>Weinan Zhang</dc:creator>
  <cp:lastModifiedBy>Zhang Weinan</cp:lastModifiedBy>
  <cp:revision>248</cp:revision>
  <cp:lastPrinted>2019-07-12T11:51:00Z</cp:lastPrinted>
  <dcterms:created xsi:type="dcterms:W3CDTF">2019-04-27T16:00:00Z</dcterms:created>
  <dcterms:modified xsi:type="dcterms:W3CDTF">2022-05-16T09:01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698</vt:lpwstr>
  </property>
</Properties>
</file>